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4"/>
  </p:sldMasterIdLst>
  <p:notesMasterIdLst>
    <p:notesMasterId r:id="rId33"/>
  </p:notesMasterIdLst>
  <p:sldIdLst>
    <p:sldId id="1200" r:id="rId5"/>
    <p:sldId id="10804" r:id="rId6"/>
    <p:sldId id="1208" r:id="rId7"/>
    <p:sldId id="1340" r:id="rId8"/>
    <p:sldId id="1199" r:id="rId9"/>
    <p:sldId id="1194" r:id="rId10"/>
    <p:sldId id="10822" r:id="rId11"/>
    <p:sldId id="10807" r:id="rId12"/>
    <p:sldId id="10831" r:id="rId13"/>
    <p:sldId id="10798" r:id="rId14"/>
    <p:sldId id="10830" r:id="rId15"/>
    <p:sldId id="10800" r:id="rId16"/>
    <p:sldId id="1205" r:id="rId17"/>
    <p:sldId id="10802" r:id="rId18"/>
    <p:sldId id="10819" r:id="rId19"/>
    <p:sldId id="10823" r:id="rId20"/>
    <p:sldId id="1185" r:id="rId21"/>
    <p:sldId id="10803" r:id="rId22"/>
    <p:sldId id="10703" r:id="rId23"/>
    <p:sldId id="2134" r:id="rId24"/>
    <p:sldId id="1186" r:id="rId25"/>
    <p:sldId id="1187" r:id="rId26"/>
    <p:sldId id="10827" r:id="rId27"/>
    <p:sldId id="10826" r:id="rId28"/>
    <p:sldId id="10814" r:id="rId29"/>
    <p:sldId id="10828" r:id="rId30"/>
    <p:sldId id="1387" r:id="rId31"/>
    <p:sldId id="1197"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191B19-2472-382F-EA3F-CBF579031473}" name="Hanson, Terri" initials="HT" userId="S::Terri.Hanson@tea.texas.gov::a02fd813-d4f3-43fd-83dd-7393041517de" providerId="AD"/>
  <p188:author id="{94E8E657-BE84-5DCD-0B20-67E8B1793911}" name="Johnson, Scott" initials="JS" userId="S::Scott.Johnson@tea.texas.gov::bec97677-f0c6-4bfb-b610-83dc74061801" providerId="AD"/>
  <p188:author id="{04816165-A551-92C0-EA48-4DFCE1FE46A9}" name="Simons, Leanne" initials="SL" userId="S::leanne.simons@tea.texas.gov::f0b41770-584b-4844-b5c5-b29dec998724" providerId="AD"/>
  <p188:author id="{00513F6E-B2A7-8FD4-EB4B-5CAF9057E4FC}" name="Muffoletto, Jamie" initials="MJ" userId="S::jamie.muffoletto@tea.texas.gov::daf1e3c6-8137-448a-b141-d23049d419b5" providerId="AD"/>
  <p188:author id="{34491EB0-BA44-8B14-6375-CE0524DD1F15}" name="Shipper, Leanne" initials="SL" userId="S::leanne.shipper@tea.texas.gov::0e769e14-a08a-48f3-b2f2-492e1559f58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ohnson, Scott" initials="JS" lastIdx="10" clrIdx="0">
    <p:extLst>
      <p:ext uri="{19B8F6BF-5375-455C-9EA6-DF929625EA0E}">
        <p15:presenceInfo xmlns:p15="http://schemas.microsoft.com/office/powerpoint/2012/main" userId="S::Scott.Johnson@tea.texas.gov::bec97677-f0c6-4bfb-b610-83dc74061801" providerId="AD"/>
      </p:ext>
    </p:extLst>
  </p:cmAuthor>
  <p:cmAuthor id="2" name="Linden, Edward" initials="LE" lastIdx="2" clrIdx="1">
    <p:extLst>
      <p:ext uri="{19B8F6BF-5375-455C-9EA6-DF929625EA0E}">
        <p15:presenceInfo xmlns:p15="http://schemas.microsoft.com/office/powerpoint/2012/main" userId="S::Edward.Linden@tea.texas.gov::433a1750-097b-48bf-9475-b5c5f6172203" providerId="AD"/>
      </p:ext>
    </p:extLst>
  </p:cmAuthor>
  <p:cmAuthor id="3" name="Simons, Leanne" initials="SL" lastIdx="5" clrIdx="2">
    <p:extLst>
      <p:ext uri="{19B8F6BF-5375-455C-9EA6-DF929625EA0E}">
        <p15:presenceInfo xmlns:p15="http://schemas.microsoft.com/office/powerpoint/2012/main" userId="S::leanne.simons@tea.texas.gov::f0b41770-584b-4844-b5c5-b29dec998724" providerId="AD"/>
      </p:ext>
    </p:extLst>
  </p:cmAuthor>
  <p:cmAuthor id="4" name="Jamie Muffoletto" initials="JM" lastIdx="2" clrIdx="3">
    <p:extLst>
      <p:ext uri="{19B8F6BF-5375-455C-9EA6-DF929625EA0E}">
        <p15:presenceInfo xmlns:p15="http://schemas.microsoft.com/office/powerpoint/2012/main" userId="S::Jamie.Muffoletto@tea.texas.gov::daf1e3c6-8137-448a-b141-d23049d419b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6CB9"/>
    <a:srgbClr val="F48668"/>
    <a:srgbClr val="C2DAED"/>
    <a:srgbClr val="0A518B"/>
    <a:srgbClr val="F16038"/>
    <a:srgbClr val="D93C1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8CEBB5-D63C-494F-AEA1-A11AC44E8ABF}" v="5907" dt="2022-03-24T18:37:48.555"/>
    <p1510:client id="{479C1BE4-3007-F7FE-6AF4-84920E8CF837}" v="2" dt="2022-03-23T19:45:05.466"/>
    <p1510:client id="{7AD4F5A2-84D8-BBC9-3805-08B65CE57979}" v="1" dt="2022-03-23T21:17:21.850"/>
    <p1510:client id="{E47B37C1-0FE4-4486-A855-6271500BB32C}" v="74" dt="2022-03-24T13:12:34.917"/>
    <p1510:client id="{E643B0E5-3FAE-36CE-D89F-1D61073C9D9C}" v="3" dt="2022-03-24T18:35:26.0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9" d="100"/>
          <a:sy n="79" d="100"/>
        </p:scale>
        <p:origin x="821"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diagrams/_rels/data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image" Target="../media/image14.png"/></Relationships>
</file>

<file path=ppt/diagrams/_rels/data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image" Target="../media/image17.jpeg"/></Relationships>
</file>

<file path=ppt/diagrams/_rels/data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diagrams/_rels/data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image" Target="../media/image31.png"/><Relationship Id="rId4" Type="http://schemas.openxmlformats.org/officeDocument/2006/relationships/image" Target="../media/image34.png"/></Relationships>
</file>

<file path=ppt/diagrams/_rels/drawing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image" Target="../media/image14.png"/></Relationships>
</file>

<file path=ppt/diagrams/_rels/drawing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image" Target="../media/image17.jpeg"/></Relationships>
</file>

<file path=ppt/diagrams/_rels/drawing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svg"/><Relationship Id="rId1" Type="http://schemas.openxmlformats.org/officeDocument/2006/relationships/image" Target="../media/image20.png"/><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diagrams/_rels/drawing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image" Target="../media/image31.png"/><Relationship Id="rId4" Type="http://schemas.openxmlformats.org/officeDocument/2006/relationships/image" Target="../media/image3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1FB581-AD4E-4D8D-8114-8584BD409AC8}"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en-US"/>
        </a:p>
      </dgm:t>
    </dgm:pt>
    <dgm:pt modelId="{18F15C0D-24BE-49D1-91D2-778ADF8B75BF}">
      <dgm:prSet phldrT="[Text]"/>
      <dgm:spPr/>
      <dgm:t>
        <a:bodyPr/>
        <a:lstStyle/>
        <a:p>
          <a:r>
            <a:rPr lang="en-US"/>
            <a:t>Pilot</a:t>
          </a:r>
        </a:p>
      </dgm:t>
    </dgm:pt>
    <dgm:pt modelId="{25899D8C-5C87-4FAD-8D48-41E1CC1345D1}" type="parTrans" cxnId="{E5D38B37-CDEF-42DD-9BB7-DE5CA26985D5}">
      <dgm:prSet/>
      <dgm:spPr/>
      <dgm:t>
        <a:bodyPr/>
        <a:lstStyle/>
        <a:p>
          <a:endParaRPr lang="en-US"/>
        </a:p>
      </dgm:t>
    </dgm:pt>
    <dgm:pt modelId="{E0C85F22-F177-4093-9A20-59A7CC4C42B2}" type="sibTrans" cxnId="{E5D38B37-CDEF-42DD-9BB7-DE5CA26985D5}">
      <dgm:prSet/>
      <dgm:spPr/>
      <dgm:t>
        <a:bodyPr/>
        <a:lstStyle/>
        <a:p>
          <a:endParaRPr lang="en-US"/>
        </a:p>
      </dgm:t>
    </dgm:pt>
    <dgm:pt modelId="{CE88DE76-B389-47FD-9763-3FC0E193A5F4}">
      <dgm:prSet phldrT="[Text]"/>
      <dgm:spPr/>
      <dgm:t>
        <a:bodyPr/>
        <a:lstStyle/>
        <a:p>
          <a:r>
            <a:rPr lang="en-US"/>
            <a:t>Parallel</a:t>
          </a:r>
        </a:p>
      </dgm:t>
    </dgm:pt>
    <dgm:pt modelId="{27A35FCB-22D6-4221-9236-0CEA737B78AE}" type="parTrans" cxnId="{098A47F1-B6EC-4DFD-AA24-541478EC3436}">
      <dgm:prSet/>
      <dgm:spPr/>
      <dgm:t>
        <a:bodyPr/>
        <a:lstStyle/>
        <a:p>
          <a:endParaRPr lang="en-US"/>
        </a:p>
      </dgm:t>
    </dgm:pt>
    <dgm:pt modelId="{9358CEFC-3725-4900-BE9D-1A12794E1564}" type="sibTrans" cxnId="{098A47F1-B6EC-4DFD-AA24-541478EC3436}">
      <dgm:prSet/>
      <dgm:spPr/>
      <dgm:t>
        <a:bodyPr/>
        <a:lstStyle/>
        <a:p>
          <a:endParaRPr lang="en-US"/>
        </a:p>
      </dgm:t>
    </dgm:pt>
    <dgm:pt modelId="{F9F3327D-636D-44FB-9FFD-E82603F9DCE2}">
      <dgm:prSet phldrT="[Text]"/>
      <dgm:spPr/>
      <dgm:t>
        <a:bodyPr/>
        <a:lstStyle/>
        <a:p>
          <a:r>
            <a:rPr lang="en-US"/>
            <a:t>Go Live</a:t>
          </a:r>
        </a:p>
      </dgm:t>
    </dgm:pt>
    <dgm:pt modelId="{E98A7F99-5C46-468F-83D5-111A83A58733}" type="parTrans" cxnId="{04C94933-3068-4052-A275-E02E86711992}">
      <dgm:prSet/>
      <dgm:spPr/>
      <dgm:t>
        <a:bodyPr/>
        <a:lstStyle/>
        <a:p>
          <a:endParaRPr lang="en-US"/>
        </a:p>
      </dgm:t>
    </dgm:pt>
    <dgm:pt modelId="{C6D51DB8-F6B2-43AB-BB6E-D81BFB30E4F1}" type="sibTrans" cxnId="{04C94933-3068-4052-A275-E02E86711992}">
      <dgm:prSet/>
      <dgm:spPr/>
      <dgm:t>
        <a:bodyPr/>
        <a:lstStyle/>
        <a:p>
          <a:endParaRPr lang="en-US"/>
        </a:p>
      </dgm:t>
    </dgm:pt>
    <dgm:pt modelId="{7801DF45-F39B-43DF-B377-11D017FE3D08}" type="pres">
      <dgm:prSet presAssocID="{9A1FB581-AD4E-4D8D-8114-8584BD409AC8}" presName="Name0" presStyleCnt="0">
        <dgm:presLayoutVars>
          <dgm:chMax val="7"/>
          <dgm:chPref val="7"/>
          <dgm:dir/>
          <dgm:animLvl val="lvl"/>
        </dgm:presLayoutVars>
      </dgm:prSet>
      <dgm:spPr/>
    </dgm:pt>
    <dgm:pt modelId="{AC47AD7A-AF76-40C4-AA27-8C5E1A2C0B94}" type="pres">
      <dgm:prSet presAssocID="{18F15C0D-24BE-49D1-91D2-778ADF8B75BF}" presName="Accent1" presStyleCnt="0"/>
      <dgm:spPr/>
    </dgm:pt>
    <dgm:pt modelId="{97A8ABFD-3C58-4694-BC19-8E513D1C9C8E}" type="pres">
      <dgm:prSet presAssocID="{18F15C0D-24BE-49D1-91D2-778ADF8B75BF}" presName="Accent" presStyleLbl="node1" presStyleIdx="0" presStyleCnt="3"/>
      <dgm:spPr/>
    </dgm:pt>
    <dgm:pt modelId="{94EC470B-1382-489F-A8B0-244665BDDAE2}" type="pres">
      <dgm:prSet presAssocID="{18F15C0D-24BE-49D1-91D2-778ADF8B75BF}" presName="Parent1" presStyleLbl="revTx" presStyleIdx="0" presStyleCnt="3">
        <dgm:presLayoutVars>
          <dgm:chMax val="1"/>
          <dgm:chPref val="1"/>
          <dgm:bulletEnabled val="1"/>
        </dgm:presLayoutVars>
      </dgm:prSet>
      <dgm:spPr/>
    </dgm:pt>
    <dgm:pt modelId="{A288834F-C470-4106-A027-450FED513EF2}" type="pres">
      <dgm:prSet presAssocID="{CE88DE76-B389-47FD-9763-3FC0E193A5F4}" presName="Accent2" presStyleCnt="0"/>
      <dgm:spPr/>
    </dgm:pt>
    <dgm:pt modelId="{B0BEA868-E43A-4406-81A1-B84B200AF42E}" type="pres">
      <dgm:prSet presAssocID="{CE88DE76-B389-47FD-9763-3FC0E193A5F4}" presName="Accent" presStyleLbl="node1" presStyleIdx="1" presStyleCnt="3"/>
      <dgm:spPr/>
    </dgm:pt>
    <dgm:pt modelId="{54261236-88B9-4884-8BF9-7C2D6CB7575A}" type="pres">
      <dgm:prSet presAssocID="{CE88DE76-B389-47FD-9763-3FC0E193A5F4}" presName="Parent2" presStyleLbl="revTx" presStyleIdx="1" presStyleCnt="3">
        <dgm:presLayoutVars>
          <dgm:chMax val="1"/>
          <dgm:chPref val="1"/>
          <dgm:bulletEnabled val="1"/>
        </dgm:presLayoutVars>
      </dgm:prSet>
      <dgm:spPr/>
    </dgm:pt>
    <dgm:pt modelId="{44695984-63B0-4E76-94E7-4BF348FC9128}" type="pres">
      <dgm:prSet presAssocID="{F9F3327D-636D-44FB-9FFD-E82603F9DCE2}" presName="Accent3" presStyleCnt="0"/>
      <dgm:spPr/>
    </dgm:pt>
    <dgm:pt modelId="{5C6614B3-6F8F-4A77-8220-DBE18686C55E}" type="pres">
      <dgm:prSet presAssocID="{F9F3327D-636D-44FB-9FFD-E82603F9DCE2}" presName="Accent" presStyleLbl="node1" presStyleIdx="2" presStyleCnt="3"/>
      <dgm:spPr/>
    </dgm:pt>
    <dgm:pt modelId="{3FC7CD17-41AB-4627-8123-DB522EC9DD5E}" type="pres">
      <dgm:prSet presAssocID="{F9F3327D-636D-44FB-9FFD-E82603F9DCE2}" presName="Parent3" presStyleLbl="revTx" presStyleIdx="2" presStyleCnt="3">
        <dgm:presLayoutVars>
          <dgm:chMax val="1"/>
          <dgm:chPref val="1"/>
          <dgm:bulletEnabled val="1"/>
        </dgm:presLayoutVars>
      </dgm:prSet>
      <dgm:spPr/>
    </dgm:pt>
  </dgm:ptLst>
  <dgm:cxnLst>
    <dgm:cxn modelId="{5CC9B500-F3E5-4FE6-A61E-09EF1054733C}" type="presOf" srcId="{CE88DE76-B389-47FD-9763-3FC0E193A5F4}" destId="{54261236-88B9-4884-8BF9-7C2D6CB7575A}" srcOrd="0" destOrd="0" presId="urn:microsoft.com/office/officeart/2009/layout/CircleArrowProcess"/>
    <dgm:cxn modelId="{597BC106-A427-4C29-9284-A9CC1F1F87CA}" type="presOf" srcId="{9A1FB581-AD4E-4D8D-8114-8584BD409AC8}" destId="{7801DF45-F39B-43DF-B377-11D017FE3D08}" srcOrd="0" destOrd="0" presId="urn:microsoft.com/office/officeart/2009/layout/CircleArrowProcess"/>
    <dgm:cxn modelId="{D1014F20-236D-447F-BEE1-E4E4760FCDFF}" type="presOf" srcId="{F9F3327D-636D-44FB-9FFD-E82603F9DCE2}" destId="{3FC7CD17-41AB-4627-8123-DB522EC9DD5E}" srcOrd="0" destOrd="0" presId="urn:microsoft.com/office/officeart/2009/layout/CircleArrowProcess"/>
    <dgm:cxn modelId="{24773D30-8E46-4843-8865-626DB31A534F}" type="presOf" srcId="{18F15C0D-24BE-49D1-91D2-778ADF8B75BF}" destId="{94EC470B-1382-489F-A8B0-244665BDDAE2}" srcOrd="0" destOrd="0" presId="urn:microsoft.com/office/officeart/2009/layout/CircleArrowProcess"/>
    <dgm:cxn modelId="{04C94933-3068-4052-A275-E02E86711992}" srcId="{9A1FB581-AD4E-4D8D-8114-8584BD409AC8}" destId="{F9F3327D-636D-44FB-9FFD-E82603F9DCE2}" srcOrd="2" destOrd="0" parTransId="{E98A7F99-5C46-468F-83D5-111A83A58733}" sibTransId="{C6D51DB8-F6B2-43AB-BB6E-D81BFB30E4F1}"/>
    <dgm:cxn modelId="{E5D38B37-CDEF-42DD-9BB7-DE5CA26985D5}" srcId="{9A1FB581-AD4E-4D8D-8114-8584BD409AC8}" destId="{18F15C0D-24BE-49D1-91D2-778ADF8B75BF}" srcOrd="0" destOrd="0" parTransId="{25899D8C-5C87-4FAD-8D48-41E1CC1345D1}" sibTransId="{E0C85F22-F177-4093-9A20-59A7CC4C42B2}"/>
    <dgm:cxn modelId="{098A47F1-B6EC-4DFD-AA24-541478EC3436}" srcId="{9A1FB581-AD4E-4D8D-8114-8584BD409AC8}" destId="{CE88DE76-B389-47FD-9763-3FC0E193A5F4}" srcOrd="1" destOrd="0" parTransId="{27A35FCB-22D6-4221-9236-0CEA737B78AE}" sibTransId="{9358CEFC-3725-4900-BE9D-1A12794E1564}"/>
    <dgm:cxn modelId="{98DAD5C0-A9C7-4794-A77B-B875B631BE23}" type="presParOf" srcId="{7801DF45-F39B-43DF-B377-11D017FE3D08}" destId="{AC47AD7A-AF76-40C4-AA27-8C5E1A2C0B94}" srcOrd="0" destOrd="0" presId="urn:microsoft.com/office/officeart/2009/layout/CircleArrowProcess"/>
    <dgm:cxn modelId="{4A2119A2-E881-4A18-9B70-F33206384EE2}" type="presParOf" srcId="{AC47AD7A-AF76-40C4-AA27-8C5E1A2C0B94}" destId="{97A8ABFD-3C58-4694-BC19-8E513D1C9C8E}" srcOrd="0" destOrd="0" presId="urn:microsoft.com/office/officeart/2009/layout/CircleArrowProcess"/>
    <dgm:cxn modelId="{CF7E3B44-8692-458A-B434-C551C1297F46}" type="presParOf" srcId="{7801DF45-F39B-43DF-B377-11D017FE3D08}" destId="{94EC470B-1382-489F-A8B0-244665BDDAE2}" srcOrd="1" destOrd="0" presId="urn:microsoft.com/office/officeart/2009/layout/CircleArrowProcess"/>
    <dgm:cxn modelId="{74DBBA78-BEF4-4EB3-B45E-8DF732A5BD0B}" type="presParOf" srcId="{7801DF45-F39B-43DF-B377-11D017FE3D08}" destId="{A288834F-C470-4106-A027-450FED513EF2}" srcOrd="2" destOrd="0" presId="urn:microsoft.com/office/officeart/2009/layout/CircleArrowProcess"/>
    <dgm:cxn modelId="{52803A73-0DCF-4F91-B7EB-D74F784262D7}" type="presParOf" srcId="{A288834F-C470-4106-A027-450FED513EF2}" destId="{B0BEA868-E43A-4406-81A1-B84B200AF42E}" srcOrd="0" destOrd="0" presId="urn:microsoft.com/office/officeart/2009/layout/CircleArrowProcess"/>
    <dgm:cxn modelId="{6E0CA44C-D996-4912-A646-9AE079BA3CBF}" type="presParOf" srcId="{7801DF45-F39B-43DF-B377-11D017FE3D08}" destId="{54261236-88B9-4884-8BF9-7C2D6CB7575A}" srcOrd="3" destOrd="0" presId="urn:microsoft.com/office/officeart/2009/layout/CircleArrowProcess"/>
    <dgm:cxn modelId="{8319399E-89E7-4B40-8CA2-2E878EF3E02D}" type="presParOf" srcId="{7801DF45-F39B-43DF-B377-11D017FE3D08}" destId="{44695984-63B0-4E76-94E7-4BF348FC9128}" srcOrd="4" destOrd="0" presId="urn:microsoft.com/office/officeart/2009/layout/CircleArrowProcess"/>
    <dgm:cxn modelId="{F6CA584C-3BA0-41B1-B960-F6942C19AE2F}" type="presParOf" srcId="{44695984-63B0-4E76-94E7-4BF348FC9128}" destId="{5C6614B3-6F8F-4A77-8220-DBE18686C55E}" srcOrd="0" destOrd="0" presId="urn:microsoft.com/office/officeart/2009/layout/CircleArrowProcess"/>
    <dgm:cxn modelId="{782BBDBE-19C6-427E-B8FD-9EF96D4AF348}" type="presParOf" srcId="{7801DF45-F39B-43DF-B377-11D017FE3D08}" destId="{3FC7CD17-41AB-4627-8123-DB522EC9DD5E}" srcOrd="5"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D386B97-5F9D-4F4D-ADCF-D6B4A4717EFF}" type="doc">
      <dgm:prSet loTypeId="urn:microsoft.com/office/officeart/2005/8/layout/venn3" loCatId="relationship" qsTypeId="urn:microsoft.com/office/officeart/2005/8/quickstyle/simple1" qsCatId="simple" csTypeId="urn:microsoft.com/office/officeart/2005/8/colors/accent1_2" csCatId="accent1" phldr="1"/>
      <dgm:spPr/>
    </dgm:pt>
    <dgm:pt modelId="{7879BB35-D894-4BB9-928A-939AF04958FF}">
      <dgm:prSet phldrT="[Text]"/>
      <dgm:spPr/>
      <dgm:t>
        <a:bodyPr/>
        <a:lstStyle/>
        <a:p>
          <a:r>
            <a:rPr lang="en-US"/>
            <a:t>PEIMS FALL</a:t>
          </a:r>
        </a:p>
      </dgm:t>
    </dgm:pt>
    <dgm:pt modelId="{A36912F0-7133-415B-9A06-ECFE80FD3D48}" type="parTrans" cxnId="{0240B99D-EA3D-49B8-87C4-7193E63A8D42}">
      <dgm:prSet/>
      <dgm:spPr/>
      <dgm:t>
        <a:bodyPr/>
        <a:lstStyle/>
        <a:p>
          <a:endParaRPr lang="en-US"/>
        </a:p>
      </dgm:t>
    </dgm:pt>
    <dgm:pt modelId="{17EC5353-AD33-4393-835E-DE776E9C8DAC}" type="sibTrans" cxnId="{0240B99D-EA3D-49B8-87C4-7193E63A8D42}">
      <dgm:prSet/>
      <dgm:spPr/>
      <dgm:t>
        <a:bodyPr/>
        <a:lstStyle/>
        <a:p>
          <a:endParaRPr lang="en-US"/>
        </a:p>
      </dgm:t>
    </dgm:pt>
    <dgm:pt modelId="{6E0ACBE7-C986-4943-8625-B5B20CF714EF}">
      <dgm:prSet phldrT="[Text]"/>
      <dgm:spPr/>
      <dgm:t>
        <a:bodyPr/>
        <a:lstStyle/>
        <a:p>
          <a:r>
            <a:rPr lang="en-US"/>
            <a:t>CLASS ROSTER FALL</a:t>
          </a:r>
        </a:p>
      </dgm:t>
    </dgm:pt>
    <dgm:pt modelId="{F022605F-805B-44ED-A1B3-6B139B4D8419}" type="parTrans" cxnId="{14559069-B6EF-4CF4-AF7D-B985B70EE236}">
      <dgm:prSet/>
      <dgm:spPr/>
      <dgm:t>
        <a:bodyPr/>
        <a:lstStyle/>
        <a:p>
          <a:endParaRPr lang="en-US"/>
        </a:p>
      </dgm:t>
    </dgm:pt>
    <dgm:pt modelId="{A8D4EF0E-7465-45E3-AA1F-C436CF732E24}" type="sibTrans" cxnId="{14559069-B6EF-4CF4-AF7D-B985B70EE236}">
      <dgm:prSet/>
      <dgm:spPr/>
      <dgm:t>
        <a:bodyPr/>
        <a:lstStyle/>
        <a:p>
          <a:endParaRPr lang="en-US"/>
        </a:p>
      </dgm:t>
    </dgm:pt>
    <dgm:pt modelId="{CA7D7A62-0683-412A-9868-21E3CE530D2F}">
      <dgm:prSet phldrT="[Text]"/>
      <dgm:spPr/>
      <dgm:t>
        <a:bodyPr/>
        <a:lstStyle/>
        <a:p>
          <a:r>
            <a:rPr lang="en-US"/>
            <a:t>CLASS ROSTER WINTER</a:t>
          </a:r>
        </a:p>
      </dgm:t>
    </dgm:pt>
    <dgm:pt modelId="{817ED91E-802D-4EF0-A46A-BA1A176303F4}" type="parTrans" cxnId="{A9CF4725-4387-4117-8DD8-46E52F51CF6A}">
      <dgm:prSet/>
      <dgm:spPr/>
      <dgm:t>
        <a:bodyPr/>
        <a:lstStyle/>
        <a:p>
          <a:endParaRPr lang="en-US"/>
        </a:p>
      </dgm:t>
    </dgm:pt>
    <dgm:pt modelId="{1796798A-FA3B-4405-AE3E-2786896FFA9F}" type="sibTrans" cxnId="{A9CF4725-4387-4117-8DD8-46E52F51CF6A}">
      <dgm:prSet/>
      <dgm:spPr/>
      <dgm:t>
        <a:bodyPr/>
        <a:lstStyle/>
        <a:p>
          <a:endParaRPr lang="en-US"/>
        </a:p>
      </dgm:t>
    </dgm:pt>
    <dgm:pt modelId="{204668B1-1880-4870-BB59-D00103D86F88}">
      <dgm:prSet phldrT="[Text]"/>
      <dgm:spPr/>
      <dgm:t>
        <a:bodyPr/>
        <a:lstStyle/>
        <a:p>
          <a:r>
            <a:rPr lang="en-US"/>
            <a:t>CHILD FIND</a:t>
          </a:r>
        </a:p>
      </dgm:t>
    </dgm:pt>
    <dgm:pt modelId="{8B09805D-026D-45D0-B8F6-7D584BD18B10}" type="parTrans" cxnId="{98672EF2-4D62-4B56-8D0B-7CA1E688284F}">
      <dgm:prSet/>
      <dgm:spPr/>
      <dgm:t>
        <a:bodyPr/>
        <a:lstStyle/>
        <a:p>
          <a:endParaRPr lang="en-US"/>
        </a:p>
      </dgm:t>
    </dgm:pt>
    <dgm:pt modelId="{B7893317-57D6-4C57-A447-282FFE770CC3}" type="sibTrans" cxnId="{98672EF2-4D62-4B56-8D0B-7CA1E688284F}">
      <dgm:prSet/>
      <dgm:spPr/>
      <dgm:t>
        <a:bodyPr/>
        <a:lstStyle/>
        <a:p>
          <a:endParaRPr lang="en-US"/>
        </a:p>
      </dgm:t>
    </dgm:pt>
    <dgm:pt modelId="{773537DA-65B5-4F7E-9ABE-5B5B29C797CD}" type="pres">
      <dgm:prSet presAssocID="{6D386B97-5F9D-4F4D-ADCF-D6B4A4717EFF}" presName="Name0" presStyleCnt="0">
        <dgm:presLayoutVars>
          <dgm:dir/>
          <dgm:resizeHandles val="exact"/>
        </dgm:presLayoutVars>
      </dgm:prSet>
      <dgm:spPr/>
    </dgm:pt>
    <dgm:pt modelId="{102AB85E-898A-4E83-835D-880E09D4E6A2}" type="pres">
      <dgm:prSet presAssocID="{7879BB35-D894-4BB9-928A-939AF04958FF}" presName="Name5" presStyleLbl="vennNode1" presStyleIdx="0" presStyleCnt="4">
        <dgm:presLayoutVars>
          <dgm:bulletEnabled val="1"/>
        </dgm:presLayoutVars>
      </dgm:prSet>
      <dgm:spPr/>
    </dgm:pt>
    <dgm:pt modelId="{8B32CE2E-EB86-45FE-84BB-7344038E7B71}" type="pres">
      <dgm:prSet presAssocID="{17EC5353-AD33-4393-835E-DE776E9C8DAC}" presName="space" presStyleCnt="0"/>
      <dgm:spPr/>
    </dgm:pt>
    <dgm:pt modelId="{6E64889D-2441-4570-9202-7173AB3F23A6}" type="pres">
      <dgm:prSet presAssocID="{6E0ACBE7-C986-4943-8625-B5B20CF714EF}" presName="Name5" presStyleLbl="vennNode1" presStyleIdx="1" presStyleCnt="4">
        <dgm:presLayoutVars>
          <dgm:bulletEnabled val="1"/>
        </dgm:presLayoutVars>
      </dgm:prSet>
      <dgm:spPr/>
    </dgm:pt>
    <dgm:pt modelId="{C75C8452-4B69-4099-B63F-533CCBB2B557}" type="pres">
      <dgm:prSet presAssocID="{A8D4EF0E-7465-45E3-AA1F-C436CF732E24}" presName="space" presStyleCnt="0"/>
      <dgm:spPr/>
    </dgm:pt>
    <dgm:pt modelId="{73284AC2-CA96-4B68-9269-5F6234604AC4}" type="pres">
      <dgm:prSet presAssocID="{CA7D7A62-0683-412A-9868-21E3CE530D2F}" presName="Name5" presStyleLbl="vennNode1" presStyleIdx="2" presStyleCnt="4">
        <dgm:presLayoutVars>
          <dgm:bulletEnabled val="1"/>
        </dgm:presLayoutVars>
      </dgm:prSet>
      <dgm:spPr/>
    </dgm:pt>
    <dgm:pt modelId="{7B139F62-FE4E-44B1-AB9F-C83D0888CD54}" type="pres">
      <dgm:prSet presAssocID="{1796798A-FA3B-4405-AE3E-2786896FFA9F}" presName="space" presStyleCnt="0"/>
      <dgm:spPr/>
    </dgm:pt>
    <dgm:pt modelId="{30E8C6C7-476C-4C81-9BC6-76A317DD71A9}" type="pres">
      <dgm:prSet presAssocID="{204668B1-1880-4870-BB59-D00103D86F88}" presName="Name5" presStyleLbl="vennNode1" presStyleIdx="3" presStyleCnt="4">
        <dgm:presLayoutVars>
          <dgm:bulletEnabled val="1"/>
        </dgm:presLayoutVars>
      </dgm:prSet>
      <dgm:spPr/>
    </dgm:pt>
  </dgm:ptLst>
  <dgm:cxnLst>
    <dgm:cxn modelId="{EDBE3106-19BC-4046-A492-45D5A4815196}" type="presOf" srcId="{6D386B97-5F9D-4F4D-ADCF-D6B4A4717EFF}" destId="{773537DA-65B5-4F7E-9ABE-5B5B29C797CD}" srcOrd="0" destOrd="0" presId="urn:microsoft.com/office/officeart/2005/8/layout/venn3"/>
    <dgm:cxn modelId="{FC206D24-B504-4C9E-87D5-600A956EEC12}" type="presOf" srcId="{204668B1-1880-4870-BB59-D00103D86F88}" destId="{30E8C6C7-476C-4C81-9BC6-76A317DD71A9}" srcOrd="0" destOrd="0" presId="urn:microsoft.com/office/officeart/2005/8/layout/venn3"/>
    <dgm:cxn modelId="{A9CF4725-4387-4117-8DD8-46E52F51CF6A}" srcId="{6D386B97-5F9D-4F4D-ADCF-D6B4A4717EFF}" destId="{CA7D7A62-0683-412A-9868-21E3CE530D2F}" srcOrd="2" destOrd="0" parTransId="{817ED91E-802D-4EF0-A46A-BA1A176303F4}" sibTransId="{1796798A-FA3B-4405-AE3E-2786896FFA9F}"/>
    <dgm:cxn modelId="{14559069-B6EF-4CF4-AF7D-B985B70EE236}" srcId="{6D386B97-5F9D-4F4D-ADCF-D6B4A4717EFF}" destId="{6E0ACBE7-C986-4943-8625-B5B20CF714EF}" srcOrd="1" destOrd="0" parTransId="{F022605F-805B-44ED-A1B3-6B139B4D8419}" sibTransId="{A8D4EF0E-7465-45E3-AA1F-C436CF732E24}"/>
    <dgm:cxn modelId="{62409C81-00E1-4D70-9740-316D6D0C3595}" type="presOf" srcId="{7879BB35-D894-4BB9-928A-939AF04958FF}" destId="{102AB85E-898A-4E83-835D-880E09D4E6A2}" srcOrd="0" destOrd="0" presId="urn:microsoft.com/office/officeart/2005/8/layout/venn3"/>
    <dgm:cxn modelId="{7CEA3190-6641-4136-AB0A-5227DB25929A}" type="presOf" srcId="{CA7D7A62-0683-412A-9868-21E3CE530D2F}" destId="{73284AC2-CA96-4B68-9269-5F6234604AC4}" srcOrd="0" destOrd="0" presId="urn:microsoft.com/office/officeart/2005/8/layout/venn3"/>
    <dgm:cxn modelId="{0240B99D-EA3D-49B8-87C4-7193E63A8D42}" srcId="{6D386B97-5F9D-4F4D-ADCF-D6B4A4717EFF}" destId="{7879BB35-D894-4BB9-928A-939AF04958FF}" srcOrd="0" destOrd="0" parTransId="{A36912F0-7133-415B-9A06-ECFE80FD3D48}" sibTransId="{17EC5353-AD33-4393-835E-DE776E9C8DAC}"/>
    <dgm:cxn modelId="{79519ABD-1B1B-40B8-831E-9BF9DB374F0C}" type="presOf" srcId="{6E0ACBE7-C986-4943-8625-B5B20CF714EF}" destId="{6E64889D-2441-4570-9202-7173AB3F23A6}" srcOrd="0" destOrd="0" presId="urn:microsoft.com/office/officeart/2005/8/layout/venn3"/>
    <dgm:cxn modelId="{98672EF2-4D62-4B56-8D0B-7CA1E688284F}" srcId="{6D386B97-5F9D-4F4D-ADCF-D6B4A4717EFF}" destId="{204668B1-1880-4870-BB59-D00103D86F88}" srcOrd="3" destOrd="0" parTransId="{8B09805D-026D-45D0-B8F6-7D584BD18B10}" sibTransId="{B7893317-57D6-4C57-A447-282FFE770CC3}"/>
    <dgm:cxn modelId="{47AE95FC-1EE4-496D-B2C5-FBB98E832ACD}" type="presParOf" srcId="{773537DA-65B5-4F7E-9ABE-5B5B29C797CD}" destId="{102AB85E-898A-4E83-835D-880E09D4E6A2}" srcOrd="0" destOrd="0" presId="urn:microsoft.com/office/officeart/2005/8/layout/venn3"/>
    <dgm:cxn modelId="{1CDFC024-B02A-46E4-9FD0-E2874A5F46D3}" type="presParOf" srcId="{773537DA-65B5-4F7E-9ABE-5B5B29C797CD}" destId="{8B32CE2E-EB86-45FE-84BB-7344038E7B71}" srcOrd="1" destOrd="0" presId="urn:microsoft.com/office/officeart/2005/8/layout/venn3"/>
    <dgm:cxn modelId="{DC296125-1885-4E2F-8766-798981D065B1}" type="presParOf" srcId="{773537DA-65B5-4F7E-9ABE-5B5B29C797CD}" destId="{6E64889D-2441-4570-9202-7173AB3F23A6}" srcOrd="2" destOrd="0" presId="urn:microsoft.com/office/officeart/2005/8/layout/venn3"/>
    <dgm:cxn modelId="{557A12E7-820A-4BA6-BAA1-5E1C47A356F3}" type="presParOf" srcId="{773537DA-65B5-4F7E-9ABE-5B5B29C797CD}" destId="{C75C8452-4B69-4099-B63F-533CCBB2B557}" srcOrd="3" destOrd="0" presId="urn:microsoft.com/office/officeart/2005/8/layout/venn3"/>
    <dgm:cxn modelId="{DCAB8258-7F87-4D61-A2C3-D11DA1E048D3}" type="presParOf" srcId="{773537DA-65B5-4F7E-9ABE-5B5B29C797CD}" destId="{73284AC2-CA96-4B68-9269-5F6234604AC4}" srcOrd="4" destOrd="0" presId="urn:microsoft.com/office/officeart/2005/8/layout/venn3"/>
    <dgm:cxn modelId="{31C804CD-C5E2-4029-8A33-890C9950ABE2}" type="presParOf" srcId="{773537DA-65B5-4F7E-9ABE-5B5B29C797CD}" destId="{7B139F62-FE4E-44B1-AB9F-C83D0888CD54}" srcOrd="5" destOrd="0" presId="urn:microsoft.com/office/officeart/2005/8/layout/venn3"/>
    <dgm:cxn modelId="{F5113F0E-2539-4D34-8759-2F6679A6FCC5}" type="presParOf" srcId="{773537DA-65B5-4F7E-9ABE-5B5B29C797CD}" destId="{30E8C6C7-476C-4C81-9BC6-76A317DD71A9}" srcOrd="6" destOrd="0" presId="urn:microsoft.com/office/officeart/2005/8/layout/ven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A112C1-CD0D-4118-9046-1669F1DCDB57}" type="doc">
      <dgm:prSet loTypeId="urn:microsoft.com/office/officeart/2005/8/layout/vList4" loCatId="picture" qsTypeId="urn:microsoft.com/office/officeart/2005/8/quickstyle/simple1" qsCatId="simple" csTypeId="urn:microsoft.com/office/officeart/2005/8/colors/accent1_2" csCatId="accent1" phldr="1"/>
      <dgm:spPr/>
      <dgm:t>
        <a:bodyPr/>
        <a:lstStyle/>
        <a:p>
          <a:endParaRPr lang="en-US"/>
        </a:p>
      </dgm:t>
    </dgm:pt>
    <dgm:pt modelId="{67B9C4AF-C475-4026-B095-D96191E0C81B}">
      <dgm:prSet phldrT="[Text]" custT="1"/>
      <dgm:spPr/>
      <dgm:t>
        <a:bodyPr/>
        <a:lstStyle/>
        <a:p>
          <a:r>
            <a:rPr lang="en-US" sz="3200"/>
            <a:t>Aeries </a:t>
          </a:r>
        </a:p>
        <a:p>
          <a:r>
            <a:rPr lang="en-US" sz="2000"/>
            <a:t>February 2022</a:t>
          </a:r>
        </a:p>
      </dgm:t>
    </dgm:pt>
    <dgm:pt modelId="{996D36ED-8E29-472C-B6F4-4890FB05FDF9}" type="parTrans" cxnId="{BB9F0A5E-7905-4471-83C0-FFA44AECD0C8}">
      <dgm:prSet/>
      <dgm:spPr/>
      <dgm:t>
        <a:bodyPr/>
        <a:lstStyle/>
        <a:p>
          <a:endParaRPr lang="en-US"/>
        </a:p>
      </dgm:t>
    </dgm:pt>
    <dgm:pt modelId="{B377AD47-1AB0-43E3-B816-458D9EF8E31E}" type="sibTrans" cxnId="{BB9F0A5E-7905-4471-83C0-FFA44AECD0C8}">
      <dgm:prSet/>
      <dgm:spPr/>
      <dgm:t>
        <a:bodyPr/>
        <a:lstStyle/>
        <a:p>
          <a:endParaRPr lang="en-US"/>
        </a:p>
      </dgm:t>
    </dgm:pt>
    <dgm:pt modelId="{ADE69334-29DD-4540-84A7-131B985FFDA4}">
      <dgm:prSet phldrT="[Text]" custT="1"/>
      <dgm:spPr/>
      <dgm:t>
        <a:bodyPr/>
        <a:lstStyle/>
        <a:p>
          <a:r>
            <a:rPr lang="en-US" sz="3200"/>
            <a:t>Skyward </a:t>
          </a:r>
        </a:p>
        <a:p>
          <a:r>
            <a:rPr lang="en-US" sz="2000"/>
            <a:t>February 2022</a:t>
          </a:r>
        </a:p>
      </dgm:t>
    </dgm:pt>
    <dgm:pt modelId="{349EC5E4-B30F-428D-A76C-F0092714194E}" type="parTrans" cxnId="{5AB9C2DC-D784-45DD-945C-DBB1E8C71036}">
      <dgm:prSet/>
      <dgm:spPr/>
      <dgm:t>
        <a:bodyPr/>
        <a:lstStyle/>
        <a:p>
          <a:endParaRPr lang="en-US"/>
        </a:p>
      </dgm:t>
    </dgm:pt>
    <dgm:pt modelId="{ADE284CD-A77E-40D3-B3FB-C0DEA178EA0A}" type="sibTrans" cxnId="{5AB9C2DC-D784-45DD-945C-DBB1E8C71036}">
      <dgm:prSet/>
      <dgm:spPr/>
      <dgm:t>
        <a:bodyPr/>
        <a:lstStyle/>
        <a:p>
          <a:endParaRPr lang="en-US"/>
        </a:p>
      </dgm:t>
    </dgm:pt>
    <dgm:pt modelId="{F2B96DC8-B489-4DA4-BE91-AB23C3F55BD9}">
      <dgm:prSet phldrT="[Text]" custT="1"/>
      <dgm:spPr/>
      <dgm:t>
        <a:bodyPr/>
        <a:lstStyle/>
        <a:p>
          <a:r>
            <a:rPr lang="en-US" sz="3200"/>
            <a:t>PowerSchool</a:t>
          </a:r>
        </a:p>
        <a:p>
          <a:r>
            <a:rPr lang="en-US" sz="2000"/>
            <a:t>August 2021</a:t>
          </a:r>
        </a:p>
      </dgm:t>
    </dgm:pt>
    <dgm:pt modelId="{AAF5E9BF-BAFA-40F3-A0B3-15A3098F46FD}" type="sibTrans" cxnId="{F7BB85AF-0DE6-438F-B8DF-D65B1DA79D10}">
      <dgm:prSet/>
      <dgm:spPr/>
      <dgm:t>
        <a:bodyPr/>
        <a:lstStyle/>
        <a:p>
          <a:endParaRPr lang="en-US"/>
        </a:p>
      </dgm:t>
    </dgm:pt>
    <dgm:pt modelId="{FCBD3D62-3AD2-413E-90CF-E5927BECC476}" type="parTrans" cxnId="{F7BB85AF-0DE6-438F-B8DF-D65B1DA79D10}">
      <dgm:prSet/>
      <dgm:spPr/>
      <dgm:t>
        <a:bodyPr/>
        <a:lstStyle/>
        <a:p>
          <a:endParaRPr lang="en-US"/>
        </a:p>
      </dgm:t>
    </dgm:pt>
    <dgm:pt modelId="{25B81E3B-7D49-4ED9-B338-CD6E3E913EA2}" type="pres">
      <dgm:prSet presAssocID="{8BA112C1-CD0D-4118-9046-1669F1DCDB57}" presName="linear" presStyleCnt="0">
        <dgm:presLayoutVars>
          <dgm:dir/>
          <dgm:resizeHandles val="exact"/>
        </dgm:presLayoutVars>
      </dgm:prSet>
      <dgm:spPr/>
    </dgm:pt>
    <dgm:pt modelId="{8F138207-DA95-41D1-B10C-97453CF3786E}" type="pres">
      <dgm:prSet presAssocID="{F2B96DC8-B489-4DA4-BE91-AB23C3F55BD9}" presName="comp" presStyleCnt="0"/>
      <dgm:spPr/>
    </dgm:pt>
    <dgm:pt modelId="{CC109C5F-8810-49F2-9223-E6626383CC20}" type="pres">
      <dgm:prSet presAssocID="{F2B96DC8-B489-4DA4-BE91-AB23C3F55BD9}" presName="box" presStyleLbl="node1" presStyleIdx="0" presStyleCnt="3"/>
      <dgm:spPr/>
    </dgm:pt>
    <dgm:pt modelId="{74DA1E13-B319-46EF-8E75-AF4EEE1DD1B2}" type="pres">
      <dgm:prSet presAssocID="{F2B96DC8-B489-4DA4-BE91-AB23C3F55BD9}" presName="img" presStyleLbl="fgImgPlace1" presStyleIdx="0" presStyleCnt="3"/>
      <dgm:spPr>
        <a:blipFill>
          <a:blip xmlns:r="http://schemas.openxmlformats.org/officeDocument/2006/relationships" r:embed="rId1"/>
          <a:srcRect/>
          <a:stretch>
            <a:fillRect l="-7000" r="-7000"/>
          </a:stretch>
        </a:blipFill>
      </dgm:spPr>
    </dgm:pt>
    <dgm:pt modelId="{17FB77BB-083E-46F7-8180-520554D37A96}" type="pres">
      <dgm:prSet presAssocID="{F2B96DC8-B489-4DA4-BE91-AB23C3F55BD9}" presName="text" presStyleLbl="node1" presStyleIdx="0" presStyleCnt="3">
        <dgm:presLayoutVars>
          <dgm:bulletEnabled val="1"/>
        </dgm:presLayoutVars>
      </dgm:prSet>
      <dgm:spPr/>
    </dgm:pt>
    <dgm:pt modelId="{BB01AB30-A854-42C3-A7FE-1994F9C89226}" type="pres">
      <dgm:prSet presAssocID="{AAF5E9BF-BAFA-40F3-A0B3-15A3098F46FD}" presName="spacer" presStyleCnt="0"/>
      <dgm:spPr/>
    </dgm:pt>
    <dgm:pt modelId="{808C2754-2E66-4DED-ACBF-7D655E060851}" type="pres">
      <dgm:prSet presAssocID="{67B9C4AF-C475-4026-B095-D96191E0C81B}" presName="comp" presStyleCnt="0"/>
      <dgm:spPr/>
    </dgm:pt>
    <dgm:pt modelId="{E93DB70B-BD20-4FC6-B27B-E191E61EBBCD}" type="pres">
      <dgm:prSet presAssocID="{67B9C4AF-C475-4026-B095-D96191E0C81B}" presName="box" presStyleLbl="node1" presStyleIdx="1" presStyleCnt="3"/>
      <dgm:spPr/>
    </dgm:pt>
    <dgm:pt modelId="{DEB1B640-822F-4546-9409-420C8FC618DC}" type="pres">
      <dgm:prSet presAssocID="{67B9C4AF-C475-4026-B095-D96191E0C81B}" presName="img"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l="-8000" r="-8000"/>
          </a:stretch>
        </a:blipFill>
      </dgm:spPr>
    </dgm:pt>
    <dgm:pt modelId="{38AF01DD-9570-4E28-A694-4B094462B166}" type="pres">
      <dgm:prSet presAssocID="{67B9C4AF-C475-4026-B095-D96191E0C81B}" presName="text" presStyleLbl="node1" presStyleIdx="1" presStyleCnt="3">
        <dgm:presLayoutVars>
          <dgm:bulletEnabled val="1"/>
        </dgm:presLayoutVars>
      </dgm:prSet>
      <dgm:spPr/>
    </dgm:pt>
    <dgm:pt modelId="{85524462-A82A-4FFD-A89B-DBE07C7AFEC8}" type="pres">
      <dgm:prSet presAssocID="{B377AD47-1AB0-43E3-B816-458D9EF8E31E}" presName="spacer" presStyleCnt="0"/>
      <dgm:spPr/>
    </dgm:pt>
    <dgm:pt modelId="{D800621C-26A3-4C0A-935E-8DAE97477A7E}" type="pres">
      <dgm:prSet presAssocID="{ADE69334-29DD-4540-84A7-131B985FFDA4}" presName="comp" presStyleCnt="0"/>
      <dgm:spPr/>
    </dgm:pt>
    <dgm:pt modelId="{9C41A9CA-A631-41D8-B4A3-18ED3FC10BF1}" type="pres">
      <dgm:prSet presAssocID="{ADE69334-29DD-4540-84A7-131B985FFDA4}" presName="box" presStyleLbl="node1" presStyleIdx="2" presStyleCnt="3"/>
      <dgm:spPr/>
    </dgm:pt>
    <dgm:pt modelId="{7D06A33C-E83D-48DE-B74A-FFEF4E64320A}" type="pres">
      <dgm:prSet presAssocID="{ADE69334-29DD-4540-84A7-131B985FFDA4}" presName="img"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13000" r="-13000"/>
          </a:stretch>
        </a:blipFill>
      </dgm:spPr>
    </dgm:pt>
    <dgm:pt modelId="{7477E8DA-90EC-40CE-BE12-95B32485125E}" type="pres">
      <dgm:prSet presAssocID="{ADE69334-29DD-4540-84A7-131B985FFDA4}" presName="text" presStyleLbl="node1" presStyleIdx="2" presStyleCnt="3">
        <dgm:presLayoutVars>
          <dgm:bulletEnabled val="1"/>
        </dgm:presLayoutVars>
      </dgm:prSet>
      <dgm:spPr/>
    </dgm:pt>
  </dgm:ptLst>
  <dgm:cxnLst>
    <dgm:cxn modelId="{35F5F601-F1C4-46B0-BD0A-7DE29E00764D}" type="presOf" srcId="{F2B96DC8-B489-4DA4-BE91-AB23C3F55BD9}" destId="{CC109C5F-8810-49F2-9223-E6626383CC20}" srcOrd="0" destOrd="0" presId="urn:microsoft.com/office/officeart/2005/8/layout/vList4"/>
    <dgm:cxn modelId="{C61E1217-F265-4423-B5FF-FB9BD17BB79A}" type="presOf" srcId="{8BA112C1-CD0D-4118-9046-1669F1DCDB57}" destId="{25B81E3B-7D49-4ED9-B338-CD6E3E913EA2}" srcOrd="0" destOrd="0" presId="urn:microsoft.com/office/officeart/2005/8/layout/vList4"/>
    <dgm:cxn modelId="{BB9F0A5E-7905-4471-83C0-FFA44AECD0C8}" srcId="{8BA112C1-CD0D-4118-9046-1669F1DCDB57}" destId="{67B9C4AF-C475-4026-B095-D96191E0C81B}" srcOrd="1" destOrd="0" parTransId="{996D36ED-8E29-472C-B6F4-4890FB05FDF9}" sibTransId="{B377AD47-1AB0-43E3-B816-458D9EF8E31E}"/>
    <dgm:cxn modelId="{9F3E7B4B-5FBE-4E37-9386-A748FEAD348C}" type="presOf" srcId="{ADE69334-29DD-4540-84A7-131B985FFDA4}" destId="{7477E8DA-90EC-40CE-BE12-95B32485125E}" srcOrd="1" destOrd="0" presId="urn:microsoft.com/office/officeart/2005/8/layout/vList4"/>
    <dgm:cxn modelId="{1AA1486F-B58A-4FCF-BE98-753395D9F5D4}" type="presOf" srcId="{ADE69334-29DD-4540-84A7-131B985FFDA4}" destId="{9C41A9CA-A631-41D8-B4A3-18ED3FC10BF1}" srcOrd="0" destOrd="0" presId="urn:microsoft.com/office/officeart/2005/8/layout/vList4"/>
    <dgm:cxn modelId="{247ACB9C-FDFA-4789-ACBB-064CD97C599B}" type="presOf" srcId="{F2B96DC8-B489-4DA4-BE91-AB23C3F55BD9}" destId="{17FB77BB-083E-46F7-8180-520554D37A96}" srcOrd="1" destOrd="0" presId="urn:microsoft.com/office/officeart/2005/8/layout/vList4"/>
    <dgm:cxn modelId="{973629A9-23E9-45C6-A39B-529F72FE8F73}" type="presOf" srcId="{67B9C4AF-C475-4026-B095-D96191E0C81B}" destId="{E93DB70B-BD20-4FC6-B27B-E191E61EBBCD}" srcOrd="0" destOrd="0" presId="urn:microsoft.com/office/officeart/2005/8/layout/vList4"/>
    <dgm:cxn modelId="{F7BB85AF-0DE6-438F-B8DF-D65B1DA79D10}" srcId="{8BA112C1-CD0D-4118-9046-1669F1DCDB57}" destId="{F2B96DC8-B489-4DA4-BE91-AB23C3F55BD9}" srcOrd="0" destOrd="0" parTransId="{FCBD3D62-3AD2-413E-90CF-E5927BECC476}" sibTransId="{AAF5E9BF-BAFA-40F3-A0B3-15A3098F46FD}"/>
    <dgm:cxn modelId="{C86F96BC-8105-46AE-8626-BA6BA0794FC0}" type="presOf" srcId="{67B9C4AF-C475-4026-B095-D96191E0C81B}" destId="{38AF01DD-9570-4E28-A694-4B094462B166}" srcOrd="1" destOrd="0" presId="urn:microsoft.com/office/officeart/2005/8/layout/vList4"/>
    <dgm:cxn modelId="{5AB9C2DC-D784-45DD-945C-DBB1E8C71036}" srcId="{8BA112C1-CD0D-4118-9046-1669F1DCDB57}" destId="{ADE69334-29DD-4540-84A7-131B985FFDA4}" srcOrd="2" destOrd="0" parTransId="{349EC5E4-B30F-428D-A76C-F0092714194E}" sibTransId="{ADE284CD-A77E-40D3-B3FB-C0DEA178EA0A}"/>
    <dgm:cxn modelId="{E1E9C2EB-A79B-4C6F-B61D-52A6FEE9D04D}" type="presParOf" srcId="{25B81E3B-7D49-4ED9-B338-CD6E3E913EA2}" destId="{8F138207-DA95-41D1-B10C-97453CF3786E}" srcOrd="0" destOrd="0" presId="urn:microsoft.com/office/officeart/2005/8/layout/vList4"/>
    <dgm:cxn modelId="{0DD14CAB-5E4D-4A36-8AAE-87C9056F6003}" type="presParOf" srcId="{8F138207-DA95-41D1-B10C-97453CF3786E}" destId="{CC109C5F-8810-49F2-9223-E6626383CC20}" srcOrd="0" destOrd="0" presId="urn:microsoft.com/office/officeart/2005/8/layout/vList4"/>
    <dgm:cxn modelId="{A0851FB6-34BC-49D2-A679-B5AC3DD2AB7E}" type="presParOf" srcId="{8F138207-DA95-41D1-B10C-97453CF3786E}" destId="{74DA1E13-B319-46EF-8E75-AF4EEE1DD1B2}" srcOrd="1" destOrd="0" presId="urn:microsoft.com/office/officeart/2005/8/layout/vList4"/>
    <dgm:cxn modelId="{09D14004-F4B5-4C24-A7F0-6C5335A48D22}" type="presParOf" srcId="{8F138207-DA95-41D1-B10C-97453CF3786E}" destId="{17FB77BB-083E-46F7-8180-520554D37A96}" srcOrd="2" destOrd="0" presId="urn:microsoft.com/office/officeart/2005/8/layout/vList4"/>
    <dgm:cxn modelId="{002ACCF0-A8BC-4FAB-BFE9-44CA666C017A}" type="presParOf" srcId="{25B81E3B-7D49-4ED9-B338-CD6E3E913EA2}" destId="{BB01AB30-A854-42C3-A7FE-1994F9C89226}" srcOrd="1" destOrd="0" presId="urn:microsoft.com/office/officeart/2005/8/layout/vList4"/>
    <dgm:cxn modelId="{8ADBC441-81EC-46DB-9580-736F82862E38}" type="presParOf" srcId="{25B81E3B-7D49-4ED9-B338-CD6E3E913EA2}" destId="{808C2754-2E66-4DED-ACBF-7D655E060851}" srcOrd="2" destOrd="0" presId="urn:microsoft.com/office/officeart/2005/8/layout/vList4"/>
    <dgm:cxn modelId="{00601E47-88A3-4C06-85BF-6828762159B9}" type="presParOf" srcId="{808C2754-2E66-4DED-ACBF-7D655E060851}" destId="{E93DB70B-BD20-4FC6-B27B-E191E61EBBCD}" srcOrd="0" destOrd="0" presId="urn:microsoft.com/office/officeart/2005/8/layout/vList4"/>
    <dgm:cxn modelId="{F2B717EE-5A96-4E2D-866D-D23493553923}" type="presParOf" srcId="{808C2754-2E66-4DED-ACBF-7D655E060851}" destId="{DEB1B640-822F-4546-9409-420C8FC618DC}" srcOrd="1" destOrd="0" presId="urn:microsoft.com/office/officeart/2005/8/layout/vList4"/>
    <dgm:cxn modelId="{699317E2-3AFE-4E21-AC34-A1DB69961C22}" type="presParOf" srcId="{808C2754-2E66-4DED-ACBF-7D655E060851}" destId="{38AF01DD-9570-4E28-A694-4B094462B166}" srcOrd="2" destOrd="0" presId="urn:microsoft.com/office/officeart/2005/8/layout/vList4"/>
    <dgm:cxn modelId="{985B86C9-8002-4916-8BFF-F629E42918D8}" type="presParOf" srcId="{25B81E3B-7D49-4ED9-B338-CD6E3E913EA2}" destId="{85524462-A82A-4FFD-A89B-DBE07C7AFEC8}" srcOrd="3" destOrd="0" presId="urn:microsoft.com/office/officeart/2005/8/layout/vList4"/>
    <dgm:cxn modelId="{01FE8C2B-36B6-4C66-AFC6-E67A9FE56A93}" type="presParOf" srcId="{25B81E3B-7D49-4ED9-B338-CD6E3E913EA2}" destId="{D800621C-26A3-4C0A-935E-8DAE97477A7E}" srcOrd="4" destOrd="0" presId="urn:microsoft.com/office/officeart/2005/8/layout/vList4"/>
    <dgm:cxn modelId="{3B53B67B-4EDD-4AB7-93C9-6889E080BE58}" type="presParOf" srcId="{D800621C-26A3-4C0A-935E-8DAE97477A7E}" destId="{9C41A9CA-A631-41D8-B4A3-18ED3FC10BF1}" srcOrd="0" destOrd="0" presId="urn:microsoft.com/office/officeart/2005/8/layout/vList4"/>
    <dgm:cxn modelId="{98DD0162-A47A-4887-A22F-B90A9FB6A829}" type="presParOf" srcId="{D800621C-26A3-4C0A-935E-8DAE97477A7E}" destId="{7D06A33C-E83D-48DE-B74A-FFEF4E64320A}" srcOrd="1" destOrd="0" presId="urn:microsoft.com/office/officeart/2005/8/layout/vList4"/>
    <dgm:cxn modelId="{8B9A8992-227A-4ACB-9B22-82331F93B648}" type="presParOf" srcId="{D800621C-26A3-4C0A-935E-8DAE97477A7E}" destId="{7477E8DA-90EC-40CE-BE12-95B32485125E}"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BA112C1-CD0D-4118-9046-1669F1DCDB57}" type="doc">
      <dgm:prSet loTypeId="urn:microsoft.com/office/officeart/2005/8/layout/vList4" loCatId="picture" qsTypeId="urn:microsoft.com/office/officeart/2005/8/quickstyle/simple1" qsCatId="simple" csTypeId="urn:microsoft.com/office/officeart/2005/8/colors/accent1_2" csCatId="accent1" phldr="1"/>
      <dgm:spPr/>
      <dgm:t>
        <a:bodyPr/>
        <a:lstStyle/>
        <a:p>
          <a:endParaRPr lang="en-US"/>
        </a:p>
      </dgm:t>
    </dgm:pt>
    <dgm:pt modelId="{67B9C4AF-C475-4026-B095-D96191E0C81B}">
      <dgm:prSet phldrT="[Text]" custT="1"/>
      <dgm:spPr/>
      <dgm:t>
        <a:bodyPr/>
        <a:lstStyle/>
        <a:p>
          <a:r>
            <a:rPr lang="en-US" sz="3200"/>
            <a:t>Frontline </a:t>
          </a:r>
        </a:p>
        <a:p>
          <a:r>
            <a:rPr lang="en-US" sz="2000"/>
            <a:t>February 2022</a:t>
          </a:r>
        </a:p>
      </dgm:t>
    </dgm:pt>
    <dgm:pt modelId="{996D36ED-8E29-472C-B6F4-4890FB05FDF9}" type="parTrans" cxnId="{BB9F0A5E-7905-4471-83C0-FFA44AECD0C8}">
      <dgm:prSet/>
      <dgm:spPr/>
      <dgm:t>
        <a:bodyPr/>
        <a:lstStyle/>
        <a:p>
          <a:endParaRPr lang="en-US"/>
        </a:p>
      </dgm:t>
    </dgm:pt>
    <dgm:pt modelId="{B377AD47-1AB0-43E3-B816-458D9EF8E31E}" type="sibTrans" cxnId="{BB9F0A5E-7905-4471-83C0-FFA44AECD0C8}">
      <dgm:prSet/>
      <dgm:spPr/>
      <dgm:t>
        <a:bodyPr/>
        <a:lstStyle/>
        <a:p>
          <a:endParaRPr lang="en-US"/>
        </a:p>
      </dgm:t>
    </dgm:pt>
    <dgm:pt modelId="{ADE69334-29DD-4540-84A7-131B985FFDA4}">
      <dgm:prSet phldrT="[Text]" custT="1"/>
      <dgm:spPr/>
      <dgm:t>
        <a:bodyPr/>
        <a:lstStyle/>
        <a:p>
          <a:r>
            <a:rPr lang="en-US" sz="3200"/>
            <a:t>Tyler Technologies </a:t>
          </a:r>
        </a:p>
        <a:p>
          <a:r>
            <a:rPr lang="en-US" sz="2000"/>
            <a:t>February 2022</a:t>
          </a:r>
        </a:p>
      </dgm:t>
    </dgm:pt>
    <dgm:pt modelId="{349EC5E4-B30F-428D-A76C-F0092714194E}" type="parTrans" cxnId="{5AB9C2DC-D784-45DD-945C-DBB1E8C71036}">
      <dgm:prSet/>
      <dgm:spPr/>
      <dgm:t>
        <a:bodyPr/>
        <a:lstStyle/>
        <a:p>
          <a:endParaRPr lang="en-US"/>
        </a:p>
      </dgm:t>
    </dgm:pt>
    <dgm:pt modelId="{ADE284CD-A77E-40D3-B3FB-C0DEA178EA0A}" type="sibTrans" cxnId="{5AB9C2DC-D784-45DD-945C-DBB1E8C71036}">
      <dgm:prSet/>
      <dgm:spPr/>
      <dgm:t>
        <a:bodyPr/>
        <a:lstStyle/>
        <a:p>
          <a:endParaRPr lang="en-US"/>
        </a:p>
      </dgm:t>
    </dgm:pt>
    <dgm:pt modelId="{F2B96DC8-B489-4DA4-BE91-AB23C3F55BD9}">
      <dgm:prSet phldrT="[Text]" custT="1"/>
      <dgm:spPr/>
      <dgm:t>
        <a:bodyPr/>
        <a:lstStyle/>
        <a:p>
          <a:r>
            <a:rPr lang="en-US" sz="3200"/>
            <a:t>Ascender</a:t>
          </a:r>
        </a:p>
        <a:p>
          <a:r>
            <a:rPr lang="en-US" sz="2000"/>
            <a:t>November 2021</a:t>
          </a:r>
        </a:p>
      </dgm:t>
    </dgm:pt>
    <dgm:pt modelId="{AAF5E9BF-BAFA-40F3-A0B3-15A3098F46FD}" type="sibTrans" cxnId="{F7BB85AF-0DE6-438F-B8DF-D65B1DA79D10}">
      <dgm:prSet/>
      <dgm:spPr/>
      <dgm:t>
        <a:bodyPr/>
        <a:lstStyle/>
        <a:p>
          <a:endParaRPr lang="en-US"/>
        </a:p>
      </dgm:t>
    </dgm:pt>
    <dgm:pt modelId="{FCBD3D62-3AD2-413E-90CF-E5927BECC476}" type="parTrans" cxnId="{F7BB85AF-0DE6-438F-B8DF-D65B1DA79D10}">
      <dgm:prSet/>
      <dgm:spPr/>
      <dgm:t>
        <a:bodyPr/>
        <a:lstStyle/>
        <a:p>
          <a:endParaRPr lang="en-US"/>
        </a:p>
      </dgm:t>
    </dgm:pt>
    <dgm:pt modelId="{25B81E3B-7D49-4ED9-B338-CD6E3E913EA2}" type="pres">
      <dgm:prSet presAssocID="{8BA112C1-CD0D-4118-9046-1669F1DCDB57}" presName="linear" presStyleCnt="0">
        <dgm:presLayoutVars>
          <dgm:dir/>
          <dgm:resizeHandles val="exact"/>
        </dgm:presLayoutVars>
      </dgm:prSet>
      <dgm:spPr/>
    </dgm:pt>
    <dgm:pt modelId="{8F138207-DA95-41D1-B10C-97453CF3786E}" type="pres">
      <dgm:prSet presAssocID="{F2B96DC8-B489-4DA4-BE91-AB23C3F55BD9}" presName="comp" presStyleCnt="0"/>
      <dgm:spPr/>
    </dgm:pt>
    <dgm:pt modelId="{CC109C5F-8810-49F2-9223-E6626383CC20}" type="pres">
      <dgm:prSet presAssocID="{F2B96DC8-B489-4DA4-BE91-AB23C3F55BD9}" presName="box" presStyleLbl="node1" presStyleIdx="0" presStyleCnt="3"/>
      <dgm:spPr/>
    </dgm:pt>
    <dgm:pt modelId="{74DA1E13-B319-46EF-8E75-AF4EEE1DD1B2}" type="pres">
      <dgm:prSet presAssocID="{F2B96DC8-B489-4DA4-BE91-AB23C3F55BD9}" presName="img"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l="-13000" r="-13000"/>
          </a:stretch>
        </a:blipFill>
      </dgm:spPr>
    </dgm:pt>
    <dgm:pt modelId="{17FB77BB-083E-46F7-8180-520554D37A96}" type="pres">
      <dgm:prSet presAssocID="{F2B96DC8-B489-4DA4-BE91-AB23C3F55BD9}" presName="text" presStyleLbl="node1" presStyleIdx="0" presStyleCnt="3">
        <dgm:presLayoutVars>
          <dgm:bulletEnabled val="1"/>
        </dgm:presLayoutVars>
      </dgm:prSet>
      <dgm:spPr/>
    </dgm:pt>
    <dgm:pt modelId="{BB01AB30-A854-42C3-A7FE-1994F9C89226}" type="pres">
      <dgm:prSet presAssocID="{AAF5E9BF-BAFA-40F3-A0B3-15A3098F46FD}" presName="spacer" presStyleCnt="0"/>
      <dgm:spPr/>
    </dgm:pt>
    <dgm:pt modelId="{808C2754-2E66-4DED-ACBF-7D655E060851}" type="pres">
      <dgm:prSet presAssocID="{67B9C4AF-C475-4026-B095-D96191E0C81B}" presName="comp" presStyleCnt="0"/>
      <dgm:spPr/>
    </dgm:pt>
    <dgm:pt modelId="{E93DB70B-BD20-4FC6-B27B-E191E61EBBCD}" type="pres">
      <dgm:prSet presAssocID="{67B9C4AF-C475-4026-B095-D96191E0C81B}" presName="box" presStyleLbl="node1" presStyleIdx="1" presStyleCnt="3"/>
      <dgm:spPr/>
    </dgm:pt>
    <dgm:pt modelId="{DEB1B640-822F-4546-9409-420C8FC618DC}" type="pres">
      <dgm:prSet presAssocID="{67B9C4AF-C475-4026-B095-D96191E0C81B}" presName="img"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l="-13000" r="-13000"/>
          </a:stretch>
        </a:blipFill>
      </dgm:spPr>
    </dgm:pt>
    <dgm:pt modelId="{38AF01DD-9570-4E28-A694-4B094462B166}" type="pres">
      <dgm:prSet presAssocID="{67B9C4AF-C475-4026-B095-D96191E0C81B}" presName="text" presStyleLbl="node1" presStyleIdx="1" presStyleCnt="3">
        <dgm:presLayoutVars>
          <dgm:bulletEnabled val="1"/>
        </dgm:presLayoutVars>
      </dgm:prSet>
      <dgm:spPr/>
    </dgm:pt>
    <dgm:pt modelId="{85524462-A82A-4FFD-A89B-DBE07C7AFEC8}" type="pres">
      <dgm:prSet presAssocID="{B377AD47-1AB0-43E3-B816-458D9EF8E31E}" presName="spacer" presStyleCnt="0"/>
      <dgm:spPr/>
    </dgm:pt>
    <dgm:pt modelId="{D800621C-26A3-4C0A-935E-8DAE97477A7E}" type="pres">
      <dgm:prSet presAssocID="{ADE69334-29DD-4540-84A7-131B985FFDA4}" presName="comp" presStyleCnt="0"/>
      <dgm:spPr/>
    </dgm:pt>
    <dgm:pt modelId="{9C41A9CA-A631-41D8-B4A3-18ED3FC10BF1}" type="pres">
      <dgm:prSet presAssocID="{ADE69334-29DD-4540-84A7-131B985FFDA4}" presName="box" presStyleLbl="node1" presStyleIdx="2" presStyleCnt="3"/>
      <dgm:spPr/>
    </dgm:pt>
    <dgm:pt modelId="{7D06A33C-E83D-48DE-B74A-FFEF4E64320A}" type="pres">
      <dgm:prSet presAssocID="{ADE69334-29DD-4540-84A7-131B985FFDA4}" presName="img"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8000" r="-8000"/>
          </a:stretch>
        </a:blipFill>
      </dgm:spPr>
    </dgm:pt>
    <dgm:pt modelId="{7477E8DA-90EC-40CE-BE12-95B32485125E}" type="pres">
      <dgm:prSet presAssocID="{ADE69334-29DD-4540-84A7-131B985FFDA4}" presName="text" presStyleLbl="node1" presStyleIdx="2" presStyleCnt="3">
        <dgm:presLayoutVars>
          <dgm:bulletEnabled val="1"/>
        </dgm:presLayoutVars>
      </dgm:prSet>
      <dgm:spPr/>
    </dgm:pt>
  </dgm:ptLst>
  <dgm:cxnLst>
    <dgm:cxn modelId="{35F5F601-F1C4-46B0-BD0A-7DE29E00764D}" type="presOf" srcId="{F2B96DC8-B489-4DA4-BE91-AB23C3F55BD9}" destId="{CC109C5F-8810-49F2-9223-E6626383CC20}" srcOrd="0" destOrd="0" presId="urn:microsoft.com/office/officeart/2005/8/layout/vList4"/>
    <dgm:cxn modelId="{C61E1217-F265-4423-B5FF-FB9BD17BB79A}" type="presOf" srcId="{8BA112C1-CD0D-4118-9046-1669F1DCDB57}" destId="{25B81E3B-7D49-4ED9-B338-CD6E3E913EA2}" srcOrd="0" destOrd="0" presId="urn:microsoft.com/office/officeart/2005/8/layout/vList4"/>
    <dgm:cxn modelId="{BB9F0A5E-7905-4471-83C0-FFA44AECD0C8}" srcId="{8BA112C1-CD0D-4118-9046-1669F1DCDB57}" destId="{67B9C4AF-C475-4026-B095-D96191E0C81B}" srcOrd="1" destOrd="0" parTransId="{996D36ED-8E29-472C-B6F4-4890FB05FDF9}" sibTransId="{B377AD47-1AB0-43E3-B816-458D9EF8E31E}"/>
    <dgm:cxn modelId="{9F3E7B4B-5FBE-4E37-9386-A748FEAD348C}" type="presOf" srcId="{ADE69334-29DD-4540-84A7-131B985FFDA4}" destId="{7477E8DA-90EC-40CE-BE12-95B32485125E}" srcOrd="1" destOrd="0" presId="urn:microsoft.com/office/officeart/2005/8/layout/vList4"/>
    <dgm:cxn modelId="{1AA1486F-B58A-4FCF-BE98-753395D9F5D4}" type="presOf" srcId="{ADE69334-29DD-4540-84A7-131B985FFDA4}" destId="{9C41A9CA-A631-41D8-B4A3-18ED3FC10BF1}" srcOrd="0" destOrd="0" presId="urn:microsoft.com/office/officeart/2005/8/layout/vList4"/>
    <dgm:cxn modelId="{247ACB9C-FDFA-4789-ACBB-064CD97C599B}" type="presOf" srcId="{F2B96DC8-B489-4DA4-BE91-AB23C3F55BD9}" destId="{17FB77BB-083E-46F7-8180-520554D37A96}" srcOrd="1" destOrd="0" presId="urn:microsoft.com/office/officeart/2005/8/layout/vList4"/>
    <dgm:cxn modelId="{973629A9-23E9-45C6-A39B-529F72FE8F73}" type="presOf" srcId="{67B9C4AF-C475-4026-B095-D96191E0C81B}" destId="{E93DB70B-BD20-4FC6-B27B-E191E61EBBCD}" srcOrd="0" destOrd="0" presId="urn:microsoft.com/office/officeart/2005/8/layout/vList4"/>
    <dgm:cxn modelId="{F7BB85AF-0DE6-438F-B8DF-D65B1DA79D10}" srcId="{8BA112C1-CD0D-4118-9046-1669F1DCDB57}" destId="{F2B96DC8-B489-4DA4-BE91-AB23C3F55BD9}" srcOrd="0" destOrd="0" parTransId="{FCBD3D62-3AD2-413E-90CF-E5927BECC476}" sibTransId="{AAF5E9BF-BAFA-40F3-A0B3-15A3098F46FD}"/>
    <dgm:cxn modelId="{C86F96BC-8105-46AE-8626-BA6BA0794FC0}" type="presOf" srcId="{67B9C4AF-C475-4026-B095-D96191E0C81B}" destId="{38AF01DD-9570-4E28-A694-4B094462B166}" srcOrd="1" destOrd="0" presId="urn:microsoft.com/office/officeart/2005/8/layout/vList4"/>
    <dgm:cxn modelId="{5AB9C2DC-D784-45DD-945C-DBB1E8C71036}" srcId="{8BA112C1-CD0D-4118-9046-1669F1DCDB57}" destId="{ADE69334-29DD-4540-84A7-131B985FFDA4}" srcOrd="2" destOrd="0" parTransId="{349EC5E4-B30F-428D-A76C-F0092714194E}" sibTransId="{ADE284CD-A77E-40D3-B3FB-C0DEA178EA0A}"/>
    <dgm:cxn modelId="{E1E9C2EB-A79B-4C6F-B61D-52A6FEE9D04D}" type="presParOf" srcId="{25B81E3B-7D49-4ED9-B338-CD6E3E913EA2}" destId="{8F138207-DA95-41D1-B10C-97453CF3786E}" srcOrd="0" destOrd="0" presId="urn:microsoft.com/office/officeart/2005/8/layout/vList4"/>
    <dgm:cxn modelId="{0DD14CAB-5E4D-4A36-8AAE-87C9056F6003}" type="presParOf" srcId="{8F138207-DA95-41D1-B10C-97453CF3786E}" destId="{CC109C5F-8810-49F2-9223-E6626383CC20}" srcOrd="0" destOrd="0" presId="urn:microsoft.com/office/officeart/2005/8/layout/vList4"/>
    <dgm:cxn modelId="{A0851FB6-34BC-49D2-A679-B5AC3DD2AB7E}" type="presParOf" srcId="{8F138207-DA95-41D1-B10C-97453CF3786E}" destId="{74DA1E13-B319-46EF-8E75-AF4EEE1DD1B2}" srcOrd="1" destOrd="0" presId="urn:microsoft.com/office/officeart/2005/8/layout/vList4"/>
    <dgm:cxn modelId="{09D14004-F4B5-4C24-A7F0-6C5335A48D22}" type="presParOf" srcId="{8F138207-DA95-41D1-B10C-97453CF3786E}" destId="{17FB77BB-083E-46F7-8180-520554D37A96}" srcOrd="2" destOrd="0" presId="urn:microsoft.com/office/officeart/2005/8/layout/vList4"/>
    <dgm:cxn modelId="{002ACCF0-A8BC-4FAB-BFE9-44CA666C017A}" type="presParOf" srcId="{25B81E3B-7D49-4ED9-B338-CD6E3E913EA2}" destId="{BB01AB30-A854-42C3-A7FE-1994F9C89226}" srcOrd="1" destOrd="0" presId="urn:microsoft.com/office/officeart/2005/8/layout/vList4"/>
    <dgm:cxn modelId="{8ADBC441-81EC-46DB-9580-736F82862E38}" type="presParOf" srcId="{25B81E3B-7D49-4ED9-B338-CD6E3E913EA2}" destId="{808C2754-2E66-4DED-ACBF-7D655E060851}" srcOrd="2" destOrd="0" presId="urn:microsoft.com/office/officeart/2005/8/layout/vList4"/>
    <dgm:cxn modelId="{00601E47-88A3-4C06-85BF-6828762159B9}" type="presParOf" srcId="{808C2754-2E66-4DED-ACBF-7D655E060851}" destId="{E93DB70B-BD20-4FC6-B27B-E191E61EBBCD}" srcOrd="0" destOrd="0" presId="urn:microsoft.com/office/officeart/2005/8/layout/vList4"/>
    <dgm:cxn modelId="{F2B717EE-5A96-4E2D-866D-D23493553923}" type="presParOf" srcId="{808C2754-2E66-4DED-ACBF-7D655E060851}" destId="{DEB1B640-822F-4546-9409-420C8FC618DC}" srcOrd="1" destOrd="0" presId="urn:microsoft.com/office/officeart/2005/8/layout/vList4"/>
    <dgm:cxn modelId="{699317E2-3AFE-4E21-AC34-A1DB69961C22}" type="presParOf" srcId="{808C2754-2E66-4DED-ACBF-7D655E060851}" destId="{38AF01DD-9570-4E28-A694-4B094462B166}" srcOrd="2" destOrd="0" presId="urn:microsoft.com/office/officeart/2005/8/layout/vList4"/>
    <dgm:cxn modelId="{985B86C9-8002-4916-8BFF-F629E42918D8}" type="presParOf" srcId="{25B81E3B-7D49-4ED9-B338-CD6E3E913EA2}" destId="{85524462-A82A-4FFD-A89B-DBE07C7AFEC8}" srcOrd="3" destOrd="0" presId="urn:microsoft.com/office/officeart/2005/8/layout/vList4"/>
    <dgm:cxn modelId="{01FE8C2B-36B6-4C66-AFC6-E67A9FE56A93}" type="presParOf" srcId="{25B81E3B-7D49-4ED9-B338-CD6E3E913EA2}" destId="{D800621C-26A3-4C0A-935E-8DAE97477A7E}" srcOrd="4" destOrd="0" presId="urn:microsoft.com/office/officeart/2005/8/layout/vList4"/>
    <dgm:cxn modelId="{3B53B67B-4EDD-4AB7-93C9-6889E080BE58}" type="presParOf" srcId="{D800621C-26A3-4C0A-935E-8DAE97477A7E}" destId="{9C41A9CA-A631-41D8-B4A3-18ED3FC10BF1}" srcOrd="0" destOrd="0" presId="urn:microsoft.com/office/officeart/2005/8/layout/vList4"/>
    <dgm:cxn modelId="{98DD0162-A47A-4887-A22F-B90A9FB6A829}" type="presParOf" srcId="{D800621C-26A3-4C0A-935E-8DAE97477A7E}" destId="{7D06A33C-E83D-48DE-B74A-FFEF4E64320A}" srcOrd="1" destOrd="0" presId="urn:microsoft.com/office/officeart/2005/8/layout/vList4"/>
    <dgm:cxn modelId="{8B9A8992-227A-4ACB-9B22-82331F93B648}" type="presParOf" srcId="{D800621C-26A3-4C0A-935E-8DAE97477A7E}" destId="{7477E8DA-90EC-40CE-BE12-95B32485125E}" srcOrd="2" destOrd="0" presId="urn:microsoft.com/office/officeart/2005/8/layout/vList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A613775-DB49-4F36-89C3-58B6ABD103FB}" type="doc">
      <dgm:prSet loTypeId="urn:microsoft.com/office/officeart/2011/layout/TabList" loCatId="list" qsTypeId="urn:microsoft.com/office/officeart/2005/8/quickstyle/simple1" qsCatId="simple" csTypeId="urn:microsoft.com/office/officeart/2005/8/colors/accent6_3" csCatId="accent6" phldr="1"/>
      <dgm:spPr/>
      <dgm:t>
        <a:bodyPr/>
        <a:lstStyle/>
        <a:p>
          <a:endParaRPr lang="en-US"/>
        </a:p>
      </dgm:t>
    </dgm:pt>
    <dgm:pt modelId="{7FCD229B-89F7-47AA-AD0B-6EF8697CA0A2}">
      <dgm:prSet phldrT="[Text]"/>
      <dgm:spPr/>
      <dgm:t>
        <a:bodyPr/>
        <a:lstStyle/>
        <a:p>
          <a:r>
            <a:rPr lang="en-US"/>
            <a:t>May 25, 2021</a:t>
          </a:r>
        </a:p>
      </dgm:t>
    </dgm:pt>
    <dgm:pt modelId="{986E28C5-3654-4CBD-8045-AADD73EE2269}" type="parTrans" cxnId="{88B3EA0A-6332-4FA1-943B-EC1A8B0576AE}">
      <dgm:prSet/>
      <dgm:spPr/>
      <dgm:t>
        <a:bodyPr/>
        <a:lstStyle/>
        <a:p>
          <a:endParaRPr lang="en-US"/>
        </a:p>
      </dgm:t>
    </dgm:pt>
    <dgm:pt modelId="{8EA9F52F-AA5B-40BD-A177-FB3C1FF5BCB0}" type="sibTrans" cxnId="{88B3EA0A-6332-4FA1-943B-EC1A8B0576AE}">
      <dgm:prSet/>
      <dgm:spPr/>
      <dgm:t>
        <a:bodyPr/>
        <a:lstStyle/>
        <a:p>
          <a:endParaRPr lang="en-US"/>
        </a:p>
      </dgm:t>
    </dgm:pt>
    <dgm:pt modelId="{64013F17-8051-454C-8495-339ED386C122}">
      <dgm:prSet phldrT="[Text]"/>
      <dgm:spPr/>
      <dgm:t>
        <a:bodyPr/>
        <a:lstStyle/>
        <a:p>
          <a:r>
            <a:rPr lang="en-US"/>
            <a:t>June 1, 2021</a:t>
          </a:r>
        </a:p>
      </dgm:t>
    </dgm:pt>
    <dgm:pt modelId="{D05BC7AA-165D-4465-B1E5-C08D183F4CE5}" type="parTrans" cxnId="{CD87D0D0-FBDA-4A28-BCB9-5CEA16DF3E8A}">
      <dgm:prSet/>
      <dgm:spPr/>
      <dgm:t>
        <a:bodyPr/>
        <a:lstStyle/>
        <a:p>
          <a:endParaRPr lang="en-US"/>
        </a:p>
      </dgm:t>
    </dgm:pt>
    <dgm:pt modelId="{9B676383-B14C-40A3-8F96-550C101A2E46}" type="sibTrans" cxnId="{CD87D0D0-FBDA-4A28-BCB9-5CEA16DF3E8A}">
      <dgm:prSet/>
      <dgm:spPr/>
      <dgm:t>
        <a:bodyPr/>
        <a:lstStyle/>
        <a:p>
          <a:endParaRPr lang="en-US"/>
        </a:p>
      </dgm:t>
    </dgm:pt>
    <dgm:pt modelId="{DA016258-36EC-4AA9-A5F4-DC8892DFAC98}">
      <dgm:prSet phldrT="[Text]"/>
      <dgm:spPr/>
      <dgm:t>
        <a:bodyPr/>
        <a:lstStyle/>
        <a:p>
          <a:r>
            <a:rPr lang="en-US"/>
            <a:t>Ed-Fi Certification</a:t>
          </a:r>
        </a:p>
      </dgm:t>
    </dgm:pt>
    <dgm:pt modelId="{9AB980C8-056C-4340-9A6E-1A9313E0105F}" type="parTrans" cxnId="{9C1D46FA-260B-4AEC-A9CE-9E472D2ABF8A}">
      <dgm:prSet/>
      <dgm:spPr/>
      <dgm:t>
        <a:bodyPr/>
        <a:lstStyle/>
        <a:p>
          <a:endParaRPr lang="en-US"/>
        </a:p>
      </dgm:t>
    </dgm:pt>
    <dgm:pt modelId="{F6555F82-3EAB-4962-A054-9C61E6BEE26D}" type="sibTrans" cxnId="{9C1D46FA-260B-4AEC-A9CE-9E472D2ABF8A}">
      <dgm:prSet/>
      <dgm:spPr/>
      <dgm:t>
        <a:bodyPr/>
        <a:lstStyle/>
        <a:p>
          <a:endParaRPr lang="en-US"/>
        </a:p>
      </dgm:t>
    </dgm:pt>
    <dgm:pt modelId="{01C49D73-E83D-4262-B427-2C73D642F4A1}">
      <dgm:prSet phldrT="[Text]"/>
      <dgm:spPr/>
      <dgm:t>
        <a:bodyPr/>
        <a:lstStyle/>
        <a:p>
          <a:r>
            <a:rPr lang="en-US"/>
            <a:t>August 30, 2021</a:t>
          </a:r>
        </a:p>
      </dgm:t>
    </dgm:pt>
    <dgm:pt modelId="{835B0A60-3648-4BA7-8549-D335A6613440}" type="parTrans" cxnId="{4E23F2A4-7F25-482E-85C2-A5DA73F7746E}">
      <dgm:prSet/>
      <dgm:spPr/>
      <dgm:t>
        <a:bodyPr/>
        <a:lstStyle/>
        <a:p>
          <a:endParaRPr lang="en-US"/>
        </a:p>
      </dgm:t>
    </dgm:pt>
    <dgm:pt modelId="{85CFA6BE-F155-4A32-8BF9-B8BC521398AD}" type="sibTrans" cxnId="{4E23F2A4-7F25-482E-85C2-A5DA73F7746E}">
      <dgm:prSet/>
      <dgm:spPr/>
      <dgm:t>
        <a:bodyPr/>
        <a:lstStyle/>
        <a:p>
          <a:endParaRPr lang="en-US"/>
        </a:p>
      </dgm:t>
    </dgm:pt>
    <dgm:pt modelId="{A86047C0-74DD-4500-901C-C6845109756C}">
      <dgm:prSet phldrT="[Text]"/>
      <dgm:spPr/>
      <dgm:t>
        <a:bodyPr/>
        <a:lstStyle/>
        <a:p>
          <a:r>
            <a:rPr lang="en-US"/>
            <a:t>September 29, 2021</a:t>
          </a:r>
        </a:p>
      </dgm:t>
    </dgm:pt>
    <dgm:pt modelId="{3AEA1591-5D79-4B7A-987B-A0C6F42F151F}" type="parTrans" cxnId="{E542228D-575B-4ACE-9AA2-88A3A567DF67}">
      <dgm:prSet/>
      <dgm:spPr/>
      <dgm:t>
        <a:bodyPr/>
        <a:lstStyle/>
        <a:p>
          <a:endParaRPr lang="en-US"/>
        </a:p>
      </dgm:t>
    </dgm:pt>
    <dgm:pt modelId="{0FB0B20B-9ACC-4C14-8DBB-5CAB24C0BB62}" type="sibTrans" cxnId="{E542228D-575B-4ACE-9AA2-88A3A567DF67}">
      <dgm:prSet/>
      <dgm:spPr/>
      <dgm:t>
        <a:bodyPr/>
        <a:lstStyle/>
        <a:p>
          <a:endParaRPr lang="en-US"/>
        </a:p>
      </dgm:t>
    </dgm:pt>
    <dgm:pt modelId="{51C1EFAD-4930-4AA1-A52D-F822C67EA8F6}">
      <dgm:prSet phldrT="[Text]"/>
      <dgm:spPr/>
      <dgm:t>
        <a:bodyPr/>
        <a:lstStyle/>
        <a:p>
          <a:r>
            <a:rPr lang="en-US"/>
            <a:t>February 7, 2022</a:t>
          </a:r>
        </a:p>
      </dgm:t>
    </dgm:pt>
    <dgm:pt modelId="{CC9DC8CD-EE3B-4022-8B09-04EE23C7B593}" type="parTrans" cxnId="{DCB6978C-2463-4323-BCB3-4C23805B192B}">
      <dgm:prSet/>
      <dgm:spPr/>
      <dgm:t>
        <a:bodyPr/>
        <a:lstStyle/>
        <a:p>
          <a:endParaRPr lang="en-US"/>
        </a:p>
      </dgm:t>
    </dgm:pt>
    <dgm:pt modelId="{1274B93A-F539-4D40-9B4C-88404660F2E0}" type="sibTrans" cxnId="{DCB6978C-2463-4323-BCB3-4C23805B192B}">
      <dgm:prSet/>
      <dgm:spPr/>
      <dgm:t>
        <a:bodyPr/>
        <a:lstStyle/>
        <a:p>
          <a:endParaRPr lang="en-US"/>
        </a:p>
      </dgm:t>
    </dgm:pt>
    <dgm:pt modelId="{12D1A4E0-3B78-4B92-9BB2-3CD58DFF5C69}">
      <dgm:prSet phldrT="[Text]"/>
      <dgm:spPr/>
      <dgm:t>
        <a:bodyPr/>
        <a:lstStyle/>
        <a:p>
          <a:r>
            <a:rPr lang="en-US"/>
            <a:t>Pilot Vendor Cohort</a:t>
          </a:r>
        </a:p>
      </dgm:t>
    </dgm:pt>
    <dgm:pt modelId="{2FDA0878-9C34-458F-B0F3-7B18CB62D641}" type="parTrans" cxnId="{5C636010-9456-4E45-8464-8C2606D1C0C5}">
      <dgm:prSet/>
      <dgm:spPr/>
      <dgm:t>
        <a:bodyPr/>
        <a:lstStyle/>
        <a:p>
          <a:endParaRPr lang="en-US"/>
        </a:p>
      </dgm:t>
    </dgm:pt>
    <dgm:pt modelId="{7ADEF026-166C-44F1-AB4D-D637F68F626D}" type="sibTrans" cxnId="{5C636010-9456-4E45-8464-8C2606D1C0C5}">
      <dgm:prSet/>
      <dgm:spPr/>
      <dgm:t>
        <a:bodyPr/>
        <a:lstStyle/>
        <a:p>
          <a:endParaRPr lang="en-US"/>
        </a:p>
      </dgm:t>
    </dgm:pt>
    <dgm:pt modelId="{633A5F03-BB7F-4359-B531-F1E99862CD03}">
      <dgm:prSet phldrT="[Text]"/>
      <dgm:spPr/>
      <dgm:t>
        <a:bodyPr/>
        <a:lstStyle/>
        <a:p>
          <a:r>
            <a:rPr lang="en-US"/>
            <a:t>Project Kickoff</a:t>
          </a:r>
        </a:p>
      </dgm:t>
    </dgm:pt>
    <dgm:pt modelId="{BCA0291F-62E6-4289-8399-8B58764C7805}" type="parTrans" cxnId="{EE5769FB-2A6E-4B37-BA7A-8B9B46C67F2D}">
      <dgm:prSet/>
      <dgm:spPr/>
      <dgm:t>
        <a:bodyPr/>
        <a:lstStyle/>
        <a:p>
          <a:endParaRPr lang="en-US"/>
        </a:p>
      </dgm:t>
    </dgm:pt>
    <dgm:pt modelId="{DF519FC4-9413-45F2-99BF-FA227BBE67FF}" type="sibTrans" cxnId="{EE5769FB-2A6E-4B37-BA7A-8B9B46C67F2D}">
      <dgm:prSet/>
      <dgm:spPr/>
      <dgm:t>
        <a:bodyPr/>
        <a:lstStyle/>
        <a:p>
          <a:endParaRPr lang="en-US"/>
        </a:p>
      </dgm:t>
    </dgm:pt>
    <dgm:pt modelId="{0CB5EB88-70A0-4616-AD90-23274DB93028}">
      <dgm:prSet phldrT="[Text]"/>
      <dgm:spPr/>
      <dgm:t>
        <a:bodyPr/>
        <a:lstStyle/>
        <a:p>
          <a:r>
            <a:rPr lang="en-US"/>
            <a:t>Architecture and Design</a:t>
          </a:r>
        </a:p>
      </dgm:t>
    </dgm:pt>
    <dgm:pt modelId="{6DD4977C-4D0F-4481-A898-204AE336DA83}" type="parTrans" cxnId="{31D50EBB-1C46-4EAC-BB93-F4D4EB787033}">
      <dgm:prSet/>
      <dgm:spPr/>
      <dgm:t>
        <a:bodyPr/>
        <a:lstStyle/>
        <a:p>
          <a:endParaRPr lang="en-US"/>
        </a:p>
      </dgm:t>
    </dgm:pt>
    <dgm:pt modelId="{0407E943-EF66-4492-B92D-6BEFF0DFCE16}" type="sibTrans" cxnId="{31D50EBB-1C46-4EAC-BB93-F4D4EB787033}">
      <dgm:prSet/>
      <dgm:spPr/>
      <dgm:t>
        <a:bodyPr/>
        <a:lstStyle/>
        <a:p>
          <a:endParaRPr lang="en-US"/>
        </a:p>
      </dgm:t>
    </dgm:pt>
    <dgm:pt modelId="{843013CC-5B18-4D41-AEEE-BC37DBA66150}">
      <dgm:prSet phldrT="[Text]"/>
      <dgm:spPr/>
      <dgm:t>
        <a:bodyPr/>
        <a:lstStyle/>
        <a:p>
          <a:r>
            <a:rPr lang="en-US"/>
            <a:t>Texas Education Data Standards</a:t>
          </a:r>
        </a:p>
      </dgm:t>
    </dgm:pt>
    <dgm:pt modelId="{AA835410-750A-451A-8DC1-6F3ED0E73C0F}" type="parTrans" cxnId="{91874EC8-80F6-4AEF-ACA9-51737C53432D}">
      <dgm:prSet/>
      <dgm:spPr/>
      <dgm:t>
        <a:bodyPr/>
        <a:lstStyle/>
        <a:p>
          <a:endParaRPr lang="en-US"/>
        </a:p>
      </dgm:t>
    </dgm:pt>
    <dgm:pt modelId="{F248BCD3-677A-4BFE-80E3-5EBFB4B27DBF}" type="sibTrans" cxnId="{91874EC8-80F6-4AEF-ACA9-51737C53432D}">
      <dgm:prSet/>
      <dgm:spPr/>
      <dgm:t>
        <a:bodyPr/>
        <a:lstStyle/>
        <a:p>
          <a:endParaRPr lang="en-US"/>
        </a:p>
      </dgm:t>
    </dgm:pt>
    <dgm:pt modelId="{422A423E-2B2F-488C-B131-55783FFC5336}">
      <dgm:prSet phldrT="[Text]"/>
      <dgm:spPr/>
      <dgm:t>
        <a:bodyPr/>
        <a:lstStyle/>
        <a:p>
          <a:r>
            <a:rPr lang="en-US"/>
            <a:t>December 8, 2021</a:t>
          </a:r>
        </a:p>
      </dgm:t>
    </dgm:pt>
    <dgm:pt modelId="{481CEDA3-A655-4AD7-B277-9F01BE3A543B}" type="parTrans" cxnId="{C56DBDDA-9E4F-4705-BFAA-7ADA8770F23C}">
      <dgm:prSet/>
      <dgm:spPr/>
      <dgm:t>
        <a:bodyPr/>
        <a:lstStyle/>
        <a:p>
          <a:endParaRPr lang="en-US"/>
        </a:p>
      </dgm:t>
    </dgm:pt>
    <dgm:pt modelId="{970DC312-1927-41DD-BB9A-C7371CF0EAC6}" type="sibTrans" cxnId="{C56DBDDA-9E4F-4705-BFAA-7ADA8770F23C}">
      <dgm:prSet/>
      <dgm:spPr/>
      <dgm:t>
        <a:bodyPr/>
        <a:lstStyle/>
        <a:p>
          <a:endParaRPr lang="en-US"/>
        </a:p>
      </dgm:t>
    </dgm:pt>
    <dgm:pt modelId="{0E617551-1F5C-40C5-8020-354B9459B156}">
      <dgm:prSet phldrT="[Text]"/>
      <dgm:spPr/>
      <dgm:t>
        <a:bodyPr/>
        <a:lstStyle/>
        <a:p>
          <a:r>
            <a:rPr lang="en-US"/>
            <a:t>Software Development Kit </a:t>
          </a:r>
        </a:p>
      </dgm:t>
    </dgm:pt>
    <dgm:pt modelId="{DD711FD7-E4FD-43EF-A6AA-133B4EAD91BD}" type="parTrans" cxnId="{58054B63-73CF-4EA1-9DEB-793C7AD0FA7A}">
      <dgm:prSet/>
      <dgm:spPr/>
      <dgm:t>
        <a:bodyPr/>
        <a:lstStyle/>
        <a:p>
          <a:endParaRPr lang="en-US"/>
        </a:p>
      </dgm:t>
    </dgm:pt>
    <dgm:pt modelId="{B9414742-FA3D-4943-9CCC-1E7663C01C17}" type="sibTrans" cxnId="{58054B63-73CF-4EA1-9DEB-793C7AD0FA7A}">
      <dgm:prSet/>
      <dgm:spPr/>
      <dgm:t>
        <a:bodyPr/>
        <a:lstStyle/>
        <a:p>
          <a:endParaRPr lang="en-US"/>
        </a:p>
      </dgm:t>
    </dgm:pt>
    <dgm:pt modelId="{75D6A1C5-46E3-4C65-9F54-0396F79F91FA}">
      <dgm:prSet phldrT="[Text]"/>
      <dgm:spPr/>
      <dgm:t>
        <a:bodyPr/>
        <a:lstStyle/>
        <a:p>
          <a:r>
            <a:rPr lang="en-US"/>
            <a:t>April 6, 2022</a:t>
          </a:r>
        </a:p>
      </dgm:t>
    </dgm:pt>
    <dgm:pt modelId="{C419C5BD-B81F-4CE8-93D4-DD0A6B39F627}" type="parTrans" cxnId="{E42DD889-7BF3-43CC-AE87-13279032EFBD}">
      <dgm:prSet/>
      <dgm:spPr/>
      <dgm:t>
        <a:bodyPr/>
        <a:lstStyle/>
        <a:p>
          <a:endParaRPr lang="en-US"/>
        </a:p>
      </dgm:t>
    </dgm:pt>
    <dgm:pt modelId="{83F8860B-DB2F-4D35-8510-DE53F8DAF635}" type="sibTrans" cxnId="{E42DD889-7BF3-43CC-AE87-13279032EFBD}">
      <dgm:prSet/>
      <dgm:spPr/>
      <dgm:t>
        <a:bodyPr/>
        <a:lstStyle/>
        <a:p>
          <a:endParaRPr lang="en-US"/>
        </a:p>
      </dgm:t>
    </dgm:pt>
    <dgm:pt modelId="{CE89C2BC-B1F2-417A-8CDB-D6E8AA61CD40}">
      <dgm:prSet phldrT="[Text]"/>
      <dgm:spPr/>
      <dgm:t>
        <a:bodyPr/>
        <a:lstStyle/>
        <a:p>
          <a:r>
            <a:rPr lang="en-US" i="1"/>
            <a:t>Next Scheduled Webinar </a:t>
          </a:r>
        </a:p>
      </dgm:t>
    </dgm:pt>
    <dgm:pt modelId="{9B2EA463-C209-4FCC-871A-7115A4BB8B80}" type="parTrans" cxnId="{9C8DDE0F-8B18-40C2-AF76-996EEFB01682}">
      <dgm:prSet/>
      <dgm:spPr/>
      <dgm:t>
        <a:bodyPr/>
        <a:lstStyle/>
        <a:p>
          <a:endParaRPr lang="en-US"/>
        </a:p>
      </dgm:t>
    </dgm:pt>
    <dgm:pt modelId="{1FB1ED79-84E3-4B53-8EFB-F852C5DDCF6A}" type="sibTrans" cxnId="{9C8DDE0F-8B18-40C2-AF76-996EEFB01682}">
      <dgm:prSet/>
      <dgm:spPr/>
      <dgm:t>
        <a:bodyPr/>
        <a:lstStyle/>
        <a:p>
          <a:endParaRPr lang="en-US"/>
        </a:p>
      </dgm:t>
    </dgm:pt>
    <dgm:pt modelId="{B418CE65-BAA2-42D8-B990-718F4234D7A9}" type="pres">
      <dgm:prSet presAssocID="{0A613775-DB49-4F36-89C3-58B6ABD103FB}" presName="Name0" presStyleCnt="0">
        <dgm:presLayoutVars>
          <dgm:chMax/>
          <dgm:chPref val="3"/>
          <dgm:dir/>
          <dgm:animOne val="branch"/>
          <dgm:animLvl val="lvl"/>
        </dgm:presLayoutVars>
      </dgm:prSet>
      <dgm:spPr/>
    </dgm:pt>
    <dgm:pt modelId="{56B73050-0B72-4661-B1D7-43A02801F3F6}" type="pres">
      <dgm:prSet presAssocID="{7FCD229B-89F7-47AA-AD0B-6EF8697CA0A2}" presName="composite" presStyleCnt="0"/>
      <dgm:spPr/>
    </dgm:pt>
    <dgm:pt modelId="{A294C06B-FBBA-404A-9E35-7BCCE7FE690B}" type="pres">
      <dgm:prSet presAssocID="{7FCD229B-89F7-47AA-AD0B-6EF8697CA0A2}" presName="FirstChild" presStyleLbl="revTx" presStyleIdx="0" presStyleCnt="7" custScaleX="72561" custScaleY="89369">
        <dgm:presLayoutVars>
          <dgm:chMax val="0"/>
          <dgm:chPref val="0"/>
          <dgm:bulletEnabled val="1"/>
        </dgm:presLayoutVars>
      </dgm:prSet>
      <dgm:spPr/>
    </dgm:pt>
    <dgm:pt modelId="{1B439A7B-644E-4E7D-B764-AA10586D3AFE}" type="pres">
      <dgm:prSet presAssocID="{7FCD229B-89F7-47AA-AD0B-6EF8697CA0A2}" presName="Parent" presStyleLbl="alignNode1" presStyleIdx="0" presStyleCnt="7" custScaleX="165088">
        <dgm:presLayoutVars>
          <dgm:chMax val="3"/>
          <dgm:chPref val="3"/>
          <dgm:bulletEnabled val="1"/>
        </dgm:presLayoutVars>
      </dgm:prSet>
      <dgm:spPr/>
    </dgm:pt>
    <dgm:pt modelId="{49558B67-299C-4C73-9A60-6BA26DE01625}" type="pres">
      <dgm:prSet presAssocID="{7FCD229B-89F7-47AA-AD0B-6EF8697CA0A2}" presName="Accent" presStyleLbl="parChTrans1D1" presStyleIdx="0" presStyleCnt="7"/>
      <dgm:spPr/>
    </dgm:pt>
    <dgm:pt modelId="{A34FD4AD-F8C2-4CE9-9FC7-9FA31F4D104F}" type="pres">
      <dgm:prSet presAssocID="{8EA9F52F-AA5B-40BD-A177-FB3C1FF5BCB0}" presName="sibTrans" presStyleCnt="0"/>
      <dgm:spPr/>
    </dgm:pt>
    <dgm:pt modelId="{F69AB728-F969-40D9-86F0-7A676E23899C}" type="pres">
      <dgm:prSet presAssocID="{64013F17-8051-454C-8495-339ED386C122}" presName="composite" presStyleCnt="0"/>
      <dgm:spPr/>
    </dgm:pt>
    <dgm:pt modelId="{C50C8A71-A876-4540-959D-51DDC4D737E6}" type="pres">
      <dgm:prSet presAssocID="{64013F17-8051-454C-8495-339ED386C122}" presName="FirstChild" presStyleLbl="revTx" presStyleIdx="1" presStyleCnt="7" custScaleX="72561" custScaleY="89369">
        <dgm:presLayoutVars>
          <dgm:chMax val="0"/>
          <dgm:chPref val="0"/>
          <dgm:bulletEnabled val="1"/>
        </dgm:presLayoutVars>
      </dgm:prSet>
      <dgm:spPr/>
    </dgm:pt>
    <dgm:pt modelId="{188C198D-83C5-4746-BC1A-5AAE66446177}" type="pres">
      <dgm:prSet presAssocID="{64013F17-8051-454C-8495-339ED386C122}" presName="Parent" presStyleLbl="alignNode1" presStyleIdx="1" presStyleCnt="7" custScaleX="165088">
        <dgm:presLayoutVars>
          <dgm:chMax val="3"/>
          <dgm:chPref val="3"/>
          <dgm:bulletEnabled val="1"/>
        </dgm:presLayoutVars>
      </dgm:prSet>
      <dgm:spPr/>
    </dgm:pt>
    <dgm:pt modelId="{1D1FD7E1-8CAD-4163-A01A-578AC277F098}" type="pres">
      <dgm:prSet presAssocID="{64013F17-8051-454C-8495-339ED386C122}" presName="Accent" presStyleLbl="parChTrans1D1" presStyleIdx="1" presStyleCnt="7"/>
      <dgm:spPr/>
    </dgm:pt>
    <dgm:pt modelId="{5B20819F-7048-45B0-ABBC-F1AD01E133B9}" type="pres">
      <dgm:prSet presAssocID="{9B676383-B14C-40A3-8F96-550C101A2E46}" presName="sibTrans" presStyleCnt="0"/>
      <dgm:spPr/>
    </dgm:pt>
    <dgm:pt modelId="{F8950F2A-6E1F-4D54-B36F-EA0B28128604}" type="pres">
      <dgm:prSet presAssocID="{01C49D73-E83D-4262-B427-2C73D642F4A1}" presName="composite" presStyleCnt="0"/>
      <dgm:spPr/>
    </dgm:pt>
    <dgm:pt modelId="{02D8E4B1-F27C-44DF-B2CE-A816664ABC18}" type="pres">
      <dgm:prSet presAssocID="{01C49D73-E83D-4262-B427-2C73D642F4A1}" presName="FirstChild" presStyleLbl="revTx" presStyleIdx="2" presStyleCnt="7" custScaleX="72561" custScaleY="89369">
        <dgm:presLayoutVars>
          <dgm:chMax val="0"/>
          <dgm:chPref val="0"/>
          <dgm:bulletEnabled val="1"/>
        </dgm:presLayoutVars>
      </dgm:prSet>
      <dgm:spPr/>
    </dgm:pt>
    <dgm:pt modelId="{26FBCCFE-CC7E-4F3E-AB40-BCC316AF4227}" type="pres">
      <dgm:prSet presAssocID="{01C49D73-E83D-4262-B427-2C73D642F4A1}" presName="Parent" presStyleLbl="alignNode1" presStyleIdx="2" presStyleCnt="7" custScaleX="165088">
        <dgm:presLayoutVars>
          <dgm:chMax val="3"/>
          <dgm:chPref val="3"/>
          <dgm:bulletEnabled val="1"/>
        </dgm:presLayoutVars>
      </dgm:prSet>
      <dgm:spPr/>
    </dgm:pt>
    <dgm:pt modelId="{6A2273F1-22AD-4324-8254-4AF354311B28}" type="pres">
      <dgm:prSet presAssocID="{01C49D73-E83D-4262-B427-2C73D642F4A1}" presName="Accent" presStyleLbl="parChTrans1D1" presStyleIdx="2" presStyleCnt="7"/>
      <dgm:spPr/>
    </dgm:pt>
    <dgm:pt modelId="{C35428D8-2C35-4214-9D03-DC85A45AD81E}" type="pres">
      <dgm:prSet presAssocID="{85CFA6BE-F155-4A32-8BF9-B8BC521398AD}" presName="sibTrans" presStyleCnt="0"/>
      <dgm:spPr/>
    </dgm:pt>
    <dgm:pt modelId="{531C6903-BB20-4629-9FAF-C86487625FB4}" type="pres">
      <dgm:prSet presAssocID="{A86047C0-74DD-4500-901C-C6845109756C}" presName="composite" presStyleCnt="0"/>
      <dgm:spPr/>
    </dgm:pt>
    <dgm:pt modelId="{A167980C-A418-4750-94A1-D37F749A9D6D}" type="pres">
      <dgm:prSet presAssocID="{A86047C0-74DD-4500-901C-C6845109756C}" presName="FirstChild" presStyleLbl="revTx" presStyleIdx="3" presStyleCnt="7" custScaleX="72561" custScaleY="89369">
        <dgm:presLayoutVars>
          <dgm:chMax val="0"/>
          <dgm:chPref val="0"/>
          <dgm:bulletEnabled val="1"/>
        </dgm:presLayoutVars>
      </dgm:prSet>
      <dgm:spPr/>
    </dgm:pt>
    <dgm:pt modelId="{69B19438-797E-4333-B71A-EB9D2C21A69B}" type="pres">
      <dgm:prSet presAssocID="{A86047C0-74DD-4500-901C-C6845109756C}" presName="Parent" presStyleLbl="alignNode1" presStyleIdx="3" presStyleCnt="7" custScaleX="165088">
        <dgm:presLayoutVars>
          <dgm:chMax val="3"/>
          <dgm:chPref val="3"/>
          <dgm:bulletEnabled val="1"/>
        </dgm:presLayoutVars>
      </dgm:prSet>
      <dgm:spPr/>
    </dgm:pt>
    <dgm:pt modelId="{CF906D29-6421-4B94-A2A9-FAAE06ED6071}" type="pres">
      <dgm:prSet presAssocID="{A86047C0-74DD-4500-901C-C6845109756C}" presName="Accent" presStyleLbl="parChTrans1D1" presStyleIdx="3" presStyleCnt="7"/>
      <dgm:spPr/>
    </dgm:pt>
    <dgm:pt modelId="{DA476435-3854-41D8-8019-58F1367DB8C7}" type="pres">
      <dgm:prSet presAssocID="{0FB0B20B-9ACC-4C14-8DBB-5CAB24C0BB62}" presName="sibTrans" presStyleCnt="0"/>
      <dgm:spPr/>
    </dgm:pt>
    <dgm:pt modelId="{B7E62230-BE6C-4F09-8BB0-E89B2128A310}" type="pres">
      <dgm:prSet presAssocID="{422A423E-2B2F-488C-B131-55783FFC5336}" presName="composite" presStyleCnt="0"/>
      <dgm:spPr/>
    </dgm:pt>
    <dgm:pt modelId="{31C26570-D429-4329-B2B8-4135B85D8DBA}" type="pres">
      <dgm:prSet presAssocID="{422A423E-2B2F-488C-B131-55783FFC5336}" presName="FirstChild" presStyleLbl="revTx" presStyleIdx="4" presStyleCnt="7" custScaleX="72561" custScaleY="89369">
        <dgm:presLayoutVars>
          <dgm:chMax val="0"/>
          <dgm:chPref val="0"/>
          <dgm:bulletEnabled val="1"/>
        </dgm:presLayoutVars>
      </dgm:prSet>
      <dgm:spPr/>
    </dgm:pt>
    <dgm:pt modelId="{D13FC151-79B5-41BD-AFF5-8D3EB17E3213}" type="pres">
      <dgm:prSet presAssocID="{422A423E-2B2F-488C-B131-55783FFC5336}" presName="Parent" presStyleLbl="alignNode1" presStyleIdx="4" presStyleCnt="7" custScaleX="165088">
        <dgm:presLayoutVars>
          <dgm:chMax val="3"/>
          <dgm:chPref val="3"/>
          <dgm:bulletEnabled val="1"/>
        </dgm:presLayoutVars>
      </dgm:prSet>
      <dgm:spPr/>
    </dgm:pt>
    <dgm:pt modelId="{5C841EB3-4841-405C-A4D3-A3B0E897C6CC}" type="pres">
      <dgm:prSet presAssocID="{422A423E-2B2F-488C-B131-55783FFC5336}" presName="Accent" presStyleLbl="parChTrans1D1" presStyleIdx="4" presStyleCnt="7"/>
      <dgm:spPr/>
    </dgm:pt>
    <dgm:pt modelId="{76EF743D-C348-4547-ADA2-50940A7BAF11}" type="pres">
      <dgm:prSet presAssocID="{970DC312-1927-41DD-BB9A-C7371CF0EAC6}" presName="sibTrans" presStyleCnt="0"/>
      <dgm:spPr/>
    </dgm:pt>
    <dgm:pt modelId="{2BE81382-D2CF-4FDB-9981-E5387CBA3B1C}" type="pres">
      <dgm:prSet presAssocID="{51C1EFAD-4930-4AA1-A52D-F822C67EA8F6}" presName="composite" presStyleCnt="0"/>
      <dgm:spPr/>
    </dgm:pt>
    <dgm:pt modelId="{C9AB0FCB-74B5-4D94-B9D6-78D51F82658A}" type="pres">
      <dgm:prSet presAssocID="{51C1EFAD-4930-4AA1-A52D-F822C67EA8F6}" presName="FirstChild" presStyleLbl="revTx" presStyleIdx="5" presStyleCnt="7" custScaleX="72561" custScaleY="89369">
        <dgm:presLayoutVars>
          <dgm:chMax val="0"/>
          <dgm:chPref val="0"/>
          <dgm:bulletEnabled val="1"/>
        </dgm:presLayoutVars>
      </dgm:prSet>
      <dgm:spPr/>
    </dgm:pt>
    <dgm:pt modelId="{8DC9D307-00AA-4A9F-B943-5F204ABDA995}" type="pres">
      <dgm:prSet presAssocID="{51C1EFAD-4930-4AA1-A52D-F822C67EA8F6}" presName="Parent" presStyleLbl="alignNode1" presStyleIdx="5" presStyleCnt="7" custScaleX="165088">
        <dgm:presLayoutVars>
          <dgm:chMax val="3"/>
          <dgm:chPref val="3"/>
          <dgm:bulletEnabled val="1"/>
        </dgm:presLayoutVars>
      </dgm:prSet>
      <dgm:spPr/>
    </dgm:pt>
    <dgm:pt modelId="{9C4FA774-8559-45BD-AE35-8B51F76610BF}" type="pres">
      <dgm:prSet presAssocID="{51C1EFAD-4930-4AA1-A52D-F822C67EA8F6}" presName="Accent" presStyleLbl="parChTrans1D1" presStyleIdx="5" presStyleCnt="7"/>
      <dgm:spPr/>
    </dgm:pt>
    <dgm:pt modelId="{3299E75B-026D-44BE-AB7F-04E1BC887382}" type="pres">
      <dgm:prSet presAssocID="{1274B93A-F539-4D40-9B4C-88404660F2E0}" presName="sibTrans" presStyleCnt="0"/>
      <dgm:spPr/>
    </dgm:pt>
    <dgm:pt modelId="{A9E0AAD8-A0DF-43FD-A09E-BA9545ACB45E}" type="pres">
      <dgm:prSet presAssocID="{75D6A1C5-46E3-4C65-9F54-0396F79F91FA}" presName="composite" presStyleCnt="0"/>
      <dgm:spPr/>
    </dgm:pt>
    <dgm:pt modelId="{0EAEA6F8-8D35-46B4-BB2C-752999737932}" type="pres">
      <dgm:prSet presAssocID="{75D6A1C5-46E3-4C65-9F54-0396F79F91FA}" presName="FirstChild" presStyleLbl="revTx" presStyleIdx="6" presStyleCnt="7" custScaleX="72971">
        <dgm:presLayoutVars>
          <dgm:chMax val="0"/>
          <dgm:chPref val="0"/>
          <dgm:bulletEnabled val="1"/>
        </dgm:presLayoutVars>
      </dgm:prSet>
      <dgm:spPr/>
    </dgm:pt>
    <dgm:pt modelId="{0735FCEE-C2CB-48FE-AAB1-B4CDD852BA54}" type="pres">
      <dgm:prSet presAssocID="{75D6A1C5-46E3-4C65-9F54-0396F79F91FA}" presName="Parent" presStyleLbl="alignNode1" presStyleIdx="6" presStyleCnt="7" custScaleX="165088">
        <dgm:presLayoutVars>
          <dgm:chMax val="3"/>
          <dgm:chPref val="3"/>
          <dgm:bulletEnabled val="1"/>
        </dgm:presLayoutVars>
      </dgm:prSet>
      <dgm:spPr/>
    </dgm:pt>
    <dgm:pt modelId="{F5957313-719C-4AB2-8E4D-335379354495}" type="pres">
      <dgm:prSet presAssocID="{75D6A1C5-46E3-4C65-9F54-0396F79F91FA}" presName="Accent" presStyleLbl="parChTrans1D1" presStyleIdx="6" presStyleCnt="7"/>
      <dgm:spPr/>
    </dgm:pt>
  </dgm:ptLst>
  <dgm:cxnLst>
    <dgm:cxn modelId="{DC245C02-8585-4754-9E9D-4C51A8135AAB}" type="presOf" srcId="{0E617551-1F5C-40C5-8020-354B9459B156}" destId="{31C26570-D429-4329-B2B8-4135B85D8DBA}" srcOrd="0" destOrd="0" presId="urn:microsoft.com/office/officeart/2011/layout/TabList"/>
    <dgm:cxn modelId="{D2178403-4AA4-4CD0-9D6D-0FB364166A8C}" type="presOf" srcId="{51C1EFAD-4930-4AA1-A52D-F822C67EA8F6}" destId="{8DC9D307-00AA-4A9F-B943-5F204ABDA995}" srcOrd="0" destOrd="0" presId="urn:microsoft.com/office/officeart/2011/layout/TabList"/>
    <dgm:cxn modelId="{88B3EA0A-6332-4FA1-943B-EC1A8B0576AE}" srcId="{0A613775-DB49-4F36-89C3-58B6ABD103FB}" destId="{7FCD229B-89F7-47AA-AD0B-6EF8697CA0A2}" srcOrd="0" destOrd="0" parTransId="{986E28C5-3654-4CBD-8045-AADD73EE2269}" sibTransId="{8EA9F52F-AA5B-40BD-A177-FB3C1FF5BCB0}"/>
    <dgm:cxn modelId="{9C8DDE0F-8B18-40C2-AF76-996EEFB01682}" srcId="{75D6A1C5-46E3-4C65-9F54-0396F79F91FA}" destId="{CE89C2BC-B1F2-417A-8CDB-D6E8AA61CD40}" srcOrd="0" destOrd="0" parTransId="{9B2EA463-C209-4FCC-871A-7115A4BB8B80}" sibTransId="{1FB1ED79-84E3-4B53-8EFB-F852C5DDCF6A}"/>
    <dgm:cxn modelId="{5C636010-9456-4E45-8464-8C2606D1C0C5}" srcId="{51C1EFAD-4930-4AA1-A52D-F822C67EA8F6}" destId="{12D1A4E0-3B78-4B92-9BB2-3CD58DFF5C69}" srcOrd="0" destOrd="0" parTransId="{2FDA0878-9C34-458F-B0F3-7B18CB62D641}" sibTransId="{7ADEF026-166C-44F1-AB4D-D637F68F626D}"/>
    <dgm:cxn modelId="{7BB14424-B275-4724-9B84-757D83CF85F0}" type="presOf" srcId="{01C49D73-E83D-4262-B427-2C73D642F4A1}" destId="{26FBCCFE-CC7E-4F3E-AB40-BCC316AF4227}" srcOrd="0" destOrd="0" presId="urn:microsoft.com/office/officeart/2011/layout/TabList"/>
    <dgm:cxn modelId="{5AB85F27-3394-4764-9C0E-3CCF08B4D392}" type="presOf" srcId="{422A423E-2B2F-488C-B131-55783FFC5336}" destId="{D13FC151-79B5-41BD-AFF5-8D3EB17E3213}" srcOrd="0" destOrd="0" presId="urn:microsoft.com/office/officeart/2011/layout/TabList"/>
    <dgm:cxn modelId="{9B82BE3E-384B-4828-8208-75C329C52041}" type="presOf" srcId="{64013F17-8051-454C-8495-339ED386C122}" destId="{188C198D-83C5-4746-BC1A-5AAE66446177}" srcOrd="0" destOrd="0" presId="urn:microsoft.com/office/officeart/2011/layout/TabList"/>
    <dgm:cxn modelId="{D406863F-F6DB-41A9-BFAC-3687CF4863E0}" type="presOf" srcId="{12D1A4E0-3B78-4B92-9BB2-3CD58DFF5C69}" destId="{C9AB0FCB-74B5-4D94-B9D6-78D51F82658A}" srcOrd="0" destOrd="0" presId="urn:microsoft.com/office/officeart/2011/layout/TabList"/>
    <dgm:cxn modelId="{58054B63-73CF-4EA1-9DEB-793C7AD0FA7A}" srcId="{422A423E-2B2F-488C-B131-55783FFC5336}" destId="{0E617551-1F5C-40C5-8020-354B9459B156}" srcOrd="0" destOrd="0" parTransId="{DD711FD7-E4FD-43EF-A6AA-133B4EAD91BD}" sibTransId="{B9414742-FA3D-4943-9CCC-1E7663C01C17}"/>
    <dgm:cxn modelId="{019AD76A-8DAA-4033-9CAE-F1D6DADCA643}" type="presOf" srcId="{633A5F03-BB7F-4359-B531-F1E99862CD03}" destId="{A294C06B-FBBA-404A-9E35-7BCCE7FE690B}" srcOrd="0" destOrd="0" presId="urn:microsoft.com/office/officeart/2011/layout/TabList"/>
    <dgm:cxn modelId="{7D939951-D958-47BF-8A0D-C97659F590D2}" type="presOf" srcId="{0A613775-DB49-4F36-89C3-58B6ABD103FB}" destId="{B418CE65-BAA2-42D8-B990-718F4234D7A9}" srcOrd="0" destOrd="0" presId="urn:microsoft.com/office/officeart/2011/layout/TabList"/>
    <dgm:cxn modelId="{52027E54-8AE6-4807-8A77-DC772DEFFB96}" type="presOf" srcId="{CE89C2BC-B1F2-417A-8CDB-D6E8AA61CD40}" destId="{0EAEA6F8-8D35-46B4-BB2C-752999737932}" srcOrd="0" destOrd="0" presId="urn:microsoft.com/office/officeart/2011/layout/TabList"/>
    <dgm:cxn modelId="{E42DD889-7BF3-43CC-AE87-13279032EFBD}" srcId="{0A613775-DB49-4F36-89C3-58B6ABD103FB}" destId="{75D6A1C5-46E3-4C65-9F54-0396F79F91FA}" srcOrd="6" destOrd="0" parTransId="{C419C5BD-B81F-4CE8-93D4-DD0A6B39F627}" sibTransId="{83F8860B-DB2F-4D35-8510-DE53F8DAF635}"/>
    <dgm:cxn modelId="{DCB6978C-2463-4323-BCB3-4C23805B192B}" srcId="{0A613775-DB49-4F36-89C3-58B6ABD103FB}" destId="{51C1EFAD-4930-4AA1-A52D-F822C67EA8F6}" srcOrd="5" destOrd="0" parTransId="{CC9DC8CD-EE3B-4022-8B09-04EE23C7B593}" sibTransId="{1274B93A-F539-4D40-9B4C-88404660F2E0}"/>
    <dgm:cxn modelId="{E542228D-575B-4ACE-9AA2-88A3A567DF67}" srcId="{0A613775-DB49-4F36-89C3-58B6ABD103FB}" destId="{A86047C0-74DD-4500-901C-C6845109756C}" srcOrd="3" destOrd="0" parTransId="{3AEA1591-5D79-4B7A-987B-A0C6F42F151F}" sibTransId="{0FB0B20B-9ACC-4C14-8DBB-5CAB24C0BB62}"/>
    <dgm:cxn modelId="{99B3F08D-1271-4B12-8C82-B321A5A219DD}" type="presOf" srcId="{7FCD229B-89F7-47AA-AD0B-6EF8697CA0A2}" destId="{1B439A7B-644E-4E7D-B764-AA10586D3AFE}" srcOrd="0" destOrd="0" presId="urn:microsoft.com/office/officeart/2011/layout/TabList"/>
    <dgm:cxn modelId="{D65F859E-5AFF-42C9-A6A1-227414807FAE}" type="presOf" srcId="{0CB5EB88-70A0-4616-AD90-23274DB93028}" destId="{02D8E4B1-F27C-44DF-B2CE-A816664ABC18}" srcOrd="0" destOrd="0" presId="urn:microsoft.com/office/officeart/2011/layout/TabList"/>
    <dgm:cxn modelId="{4E23F2A4-7F25-482E-85C2-A5DA73F7746E}" srcId="{0A613775-DB49-4F36-89C3-58B6ABD103FB}" destId="{01C49D73-E83D-4262-B427-2C73D642F4A1}" srcOrd="2" destOrd="0" parTransId="{835B0A60-3648-4BA7-8549-D335A6613440}" sibTransId="{85CFA6BE-F155-4A32-8BF9-B8BC521398AD}"/>
    <dgm:cxn modelId="{31D50EBB-1C46-4EAC-BB93-F4D4EB787033}" srcId="{01C49D73-E83D-4262-B427-2C73D642F4A1}" destId="{0CB5EB88-70A0-4616-AD90-23274DB93028}" srcOrd="0" destOrd="0" parTransId="{6DD4977C-4D0F-4481-A898-204AE336DA83}" sibTransId="{0407E943-EF66-4492-B92D-6BEFF0DFCE16}"/>
    <dgm:cxn modelId="{91874EC8-80F6-4AEF-ACA9-51737C53432D}" srcId="{A86047C0-74DD-4500-901C-C6845109756C}" destId="{843013CC-5B18-4D41-AEEE-BC37DBA66150}" srcOrd="0" destOrd="0" parTransId="{AA835410-750A-451A-8DC1-6F3ED0E73C0F}" sibTransId="{F248BCD3-677A-4BFE-80E3-5EBFB4B27DBF}"/>
    <dgm:cxn modelId="{067476CE-2FAD-4A7A-8A9C-9A0456EB7FA1}" type="presOf" srcId="{843013CC-5B18-4D41-AEEE-BC37DBA66150}" destId="{A167980C-A418-4750-94A1-D37F749A9D6D}" srcOrd="0" destOrd="0" presId="urn:microsoft.com/office/officeart/2011/layout/TabList"/>
    <dgm:cxn modelId="{CD87D0D0-FBDA-4A28-BCB9-5CEA16DF3E8A}" srcId="{0A613775-DB49-4F36-89C3-58B6ABD103FB}" destId="{64013F17-8051-454C-8495-339ED386C122}" srcOrd="1" destOrd="0" parTransId="{D05BC7AA-165D-4465-B1E5-C08D183F4CE5}" sibTransId="{9B676383-B14C-40A3-8F96-550C101A2E46}"/>
    <dgm:cxn modelId="{C56DBDDA-9E4F-4705-BFAA-7ADA8770F23C}" srcId="{0A613775-DB49-4F36-89C3-58B6ABD103FB}" destId="{422A423E-2B2F-488C-B131-55783FFC5336}" srcOrd="4" destOrd="0" parTransId="{481CEDA3-A655-4AD7-B277-9F01BE3A543B}" sibTransId="{970DC312-1927-41DD-BB9A-C7371CF0EAC6}"/>
    <dgm:cxn modelId="{0FE722E1-F7CF-45B7-B009-E00700BFF2C6}" type="presOf" srcId="{A86047C0-74DD-4500-901C-C6845109756C}" destId="{69B19438-797E-4333-B71A-EB9D2C21A69B}" srcOrd="0" destOrd="0" presId="urn:microsoft.com/office/officeart/2011/layout/TabList"/>
    <dgm:cxn modelId="{83008BE5-6637-49BA-A180-8C3408C13023}" type="presOf" srcId="{DA016258-36EC-4AA9-A5F4-DC8892DFAC98}" destId="{C50C8A71-A876-4540-959D-51DDC4D737E6}" srcOrd="0" destOrd="0" presId="urn:microsoft.com/office/officeart/2011/layout/TabList"/>
    <dgm:cxn modelId="{BCB64EE7-7753-4996-9696-EC60D385C473}" type="presOf" srcId="{75D6A1C5-46E3-4C65-9F54-0396F79F91FA}" destId="{0735FCEE-C2CB-48FE-AAB1-B4CDD852BA54}" srcOrd="0" destOrd="0" presId="urn:microsoft.com/office/officeart/2011/layout/TabList"/>
    <dgm:cxn modelId="{9C1D46FA-260B-4AEC-A9CE-9E472D2ABF8A}" srcId="{64013F17-8051-454C-8495-339ED386C122}" destId="{DA016258-36EC-4AA9-A5F4-DC8892DFAC98}" srcOrd="0" destOrd="0" parTransId="{9AB980C8-056C-4340-9A6E-1A9313E0105F}" sibTransId="{F6555F82-3EAB-4962-A054-9C61E6BEE26D}"/>
    <dgm:cxn modelId="{EE5769FB-2A6E-4B37-BA7A-8B9B46C67F2D}" srcId="{7FCD229B-89F7-47AA-AD0B-6EF8697CA0A2}" destId="{633A5F03-BB7F-4359-B531-F1E99862CD03}" srcOrd="0" destOrd="0" parTransId="{BCA0291F-62E6-4289-8399-8B58764C7805}" sibTransId="{DF519FC4-9413-45F2-99BF-FA227BBE67FF}"/>
    <dgm:cxn modelId="{9A1C9579-5F1B-4351-A8D2-188682FC7671}" type="presParOf" srcId="{B418CE65-BAA2-42D8-B990-718F4234D7A9}" destId="{56B73050-0B72-4661-B1D7-43A02801F3F6}" srcOrd="0" destOrd="0" presId="urn:microsoft.com/office/officeart/2011/layout/TabList"/>
    <dgm:cxn modelId="{E1260339-F4D6-4C1B-A92B-266E44071823}" type="presParOf" srcId="{56B73050-0B72-4661-B1D7-43A02801F3F6}" destId="{A294C06B-FBBA-404A-9E35-7BCCE7FE690B}" srcOrd="0" destOrd="0" presId="urn:microsoft.com/office/officeart/2011/layout/TabList"/>
    <dgm:cxn modelId="{EB072468-C8F2-4C28-8059-F265625302EB}" type="presParOf" srcId="{56B73050-0B72-4661-B1D7-43A02801F3F6}" destId="{1B439A7B-644E-4E7D-B764-AA10586D3AFE}" srcOrd="1" destOrd="0" presId="urn:microsoft.com/office/officeart/2011/layout/TabList"/>
    <dgm:cxn modelId="{B644EDB2-6D9A-488F-AD7B-6382FB763AC9}" type="presParOf" srcId="{56B73050-0B72-4661-B1D7-43A02801F3F6}" destId="{49558B67-299C-4C73-9A60-6BA26DE01625}" srcOrd="2" destOrd="0" presId="urn:microsoft.com/office/officeart/2011/layout/TabList"/>
    <dgm:cxn modelId="{591165A2-63C3-46E3-ABA9-C176F9D71E54}" type="presParOf" srcId="{B418CE65-BAA2-42D8-B990-718F4234D7A9}" destId="{A34FD4AD-F8C2-4CE9-9FC7-9FA31F4D104F}" srcOrd="1" destOrd="0" presId="urn:microsoft.com/office/officeart/2011/layout/TabList"/>
    <dgm:cxn modelId="{23AE3134-52ED-40D7-8E54-A987FABE4022}" type="presParOf" srcId="{B418CE65-BAA2-42D8-B990-718F4234D7A9}" destId="{F69AB728-F969-40D9-86F0-7A676E23899C}" srcOrd="2" destOrd="0" presId="urn:microsoft.com/office/officeart/2011/layout/TabList"/>
    <dgm:cxn modelId="{07B789AF-E68A-417D-A7F4-D4232B81C645}" type="presParOf" srcId="{F69AB728-F969-40D9-86F0-7A676E23899C}" destId="{C50C8A71-A876-4540-959D-51DDC4D737E6}" srcOrd="0" destOrd="0" presId="urn:microsoft.com/office/officeart/2011/layout/TabList"/>
    <dgm:cxn modelId="{EA5A7A3C-3D66-44CE-BE94-FAF6597406C6}" type="presParOf" srcId="{F69AB728-F969-40D9-86F0-7A676E23899C}" destId="{188C198D-83C5-4746-BC1A-5AAE66446177}" srcOrd="1" destOrd="0" presId="urn:microsoft.com/office/officeart/2011/layout/TabList"/>
    <dgm:cxn modelId="{E4BD6E6A-2085-4E8C-8373-E8D00A186A29}" type="presParOf" srcId="{F69AB728-F969-40D9-86F0-7A676E23899C}" destId="{1D1FD7E1-8CAD-4163-A01A-578AC277F098}" srcOrd="2" destOrd="0" presId="urn:microsoft.com/office/officeart/2011/layout/TabList"/>
    <dgm:cxn modelId="{EDEA06B6-46C8-479C-A6CD-4989E93F7F5E}" type="presParOf" srcId="{B418CE65-BAA2-42D8-B990-718F4234D7A9}" destId="{5B20819F-7048-45B0-ABBC-F1AD01E133B9}" srcOrd="3" destOrd="0" presId="urn:microsoft.com/office/officeart/2011/layout/TabList"/>
    <dgm:cxn modelId="{F3405C5C-B7AA-44E0-8215-C2BFB5B1827F}" type="presParOf" srcId="{B418CE65-BAA2-42D8-B990-718F4234D7A9}" destId="{F8950F2A-6E1F-4D54-B36F-EA0B28128604}" srcOrd="4" destOrd="0" presId="urn:microsoft.com/office/officeart/2011/layout/TabList"/>
    <dgm:cxn modelId="{2DFFE989-6135-4C36-B941-67B235BCDB08}" type="presParOf" srcId="{F8950F2A-6E1F-4D54-B36F-EA0B28128604}" destId="{02D8E4B1-F27C-44DF-B2CE-A816664ABC18}" srcOrd="0" destOrd="0" presId="urn:microsoft.com/office/officeart/2011/layout/TabList"/>
    <dgm:cxn modelId="{A094F04C-C102-445C-AE50-AD02A0D1B01D}" type="presParOf" srcId="{F8950F2A-6E1F-4D54-B36F-EA0B28128604}" destId="{26FBCCFE-CC7E-4F3E-AB40-BCC316AF4227}" srcOrd="1" destOrd="0" presId="urn:microsoft.com/office/officeart/2011/layout/TabList"/>
    <dgm:cxn modelId="{98AB86A6-6B66-4ECD-A20C-60F8156F7244}" type="presParOf" srcId="{F8950F2A-6E1F-4D54-B36F-EA0B28128604}" destId="{6A2273F1-22AD-4324-8254-4AF354311B28}" srcOrd="2" destOrd="0" presId="urn:microsoft.com/office/officeart/2011/layout/TabList"/>
    <dgm:cxn modelId="{812ED3CE-1CD1-412F-8638-F588AE35AA7C}" type="presParOf" srcId="{B418CE65-BAA2-42D8-B990-718F4234D7A9}" destId="{C35428D8-2C35-4214-9D03-DC85A45AD81E}" srcOrd="5" destOrd="0" presId="urn:microsoft.com/office/officeart/2011/layout/TabList"/>
    <dgm:cxn modelId="{6C809437-EBBA-4CD2-AA93-508BDA036D19}" type="presParOf" srcId="{B418CE65-BAA2-42D8-B990-718F4234D7A9}" destId="{531C6903-BB20-4629-9FAF-C86487625FB4}" srcOrd="6" destOrd="0" presId="urn:microsoft.com/office/officeart/2011/layout/TabList"/>
    <dgm:cxn modelId="{4CE4BE13-D726-42AC-9677-9D90C8F5CB78}" type="presParOf" srcId="{531C6903-BB20-4629-9FAF-C86487625FB4}" destId="{A167980C-A418-4750-94A1-D37F749A9D6D}" srcOrd="0" destOrd="0" presId="urn:microsoft.com/office/officeart/2011/layout/TabList"/>
    <dgm:cxn modelId="{706A5C8D-A5E4-4CD4-824C-1454AED7E79E}" type="presParOf" srcId="{531C6903-BB20-4629-9FAF-C86487625FB4}" destId="{69B19438-797E-4333-B71A-EB9D2C21A69B}" srcOrd="1" destOrd="0" presId="urn:microsoft.com/office/officeart/2011/layout/TabList"/>
    <dgm:cxn modelId="{13FE6F27-8350-4483-A601-BC07C00C4FB5}" type="presParOf" srcId="{531C6903-BB20-4629-9FAF-C86487625FB4}" destId="{CF906D29-6421-4B94-A2A9-FAAE06ED6071}" srcOrd="2" destOrd="0" presId="urn:microsoft.com/office/officeart/2011/layout/TabList"/>
    <dgm:cxn modelId="{8C01DAFE-129B-4736-8F34-5CF497F44D31}" type="presParOf" srcId="{B418CE65-BAA2-42D8-B990-718F4234D7A9}" destId="{DA476435-3854-41D8-8019-58F1367DB8C7}" srcOrd="7" destOrd="0" presId="urn:microsoft.com/office/officeart/2011/layout/TabList"/>
    <dgm:cxn modelId="{A6C1D239-8244-4B5C-9FE3-D631044B8254}" type="presParOf" srcId="{B418CE65-BAA2-42D8-B990-718F4234D7A9}" destId="{B7E62230-BE6C-4F09-8BB0-E89B2128A310}" srcOrd="8" destOrd="0" presId="urn:microsoft.com/office/officeart/2011/layout/TabList"/>
    <dgm:cxn modelId="{64B2211B-0058-4A44-990F-C10714B1E6D8}" type="presParOf" srcId="{B7E62230-BE6C-4F09-8BB0-E89B2128A310}" destId="{31C26570-D429-4329-B2B8-4135B85D8DBA}" srcOrd="0" destOrd="0" presId="urn:microsoft.com/office/officeart/2011/layout/TabList"/>
    <dgm:cxn modelId="{B593A40D-F56E-4D82-9FF5-8EC0EC908F30}" type="presParOf" srcId="{B7E62230-BE6C-4F09-8BB0-E89B2128A310}" destId="{D13FC151-79B5-41BD-AFF5-8D3EB17E3213}" srcOrd="1" destOrd="0" presId="urn:microsoft.com/office/officeart/2011/layout/TabList"/>
    <dgm:cxn modelId="{A77FAC6F-92C7-46D1-9B1D-EA055C304EE5}" type="presParOf" srcId="{B7E62230-BE6C-4F09-8BB0-E89B2128A310}" destId="{5C841EB3-4841-405C-A4D3-A3B0E897C6CC}" srcOrd="2" destOrd="0" presId="urn:microsoft.com/office/officeart/2011/layout/TabList"/>
    <dgm:cxn modelId="{E8E71EE9-9DC2-411C-A703-E279DB2A5852}" type="presParOf" srcId="{B418CE65-BAA2-42D8-B990-718F4234D7A9}" destId="{76EF743D-C348-4547-ADA2-50940A7BAF11}" srcOrd="9" destOrd="0" presId="urn:microsoft.com/office/officeart/2011/layout/TabList"/>
    <dgm:cxn modelId="{EAA7A811-A576-47D8-B8C9-73F2DFDB73C6}" type="presParOf" srcId="{B418CE65-BAA2-42D8-B990-718F4234D7A9}" destId="{2BE81382-D2CF-4FDB-9981-E5387CBA3B1C}" srcOrd="10" destOrd="0" presId="urn:microsoft.com/office/officeart/2011/layout/TabList"/>
    <dgm:cxn modelId="{C8A57A7E-C065-41B6-85B0-F8A828320BBE}" type="presParOf" srcId="{2BE81382-D2CF-4FDB-9981-E5387CBA3B1C}" destId="{C9AB0FCB-74B5-4D94-B9D6-78D51F82658A}" srcOrd="0" destOrd="0" presId="urn:microsoft.com/office/officeart/2011/layout/TabList"/>
    <dgm:cxn modelId="{48BDFFC5-5C1A-451D-ADBC-CFADFE37B75E}" type="presParOf" srcId="{2BE81382-D2CF-4FDB-9981-E5387CBA3B1C}" destId="{8DC9D307-00AA-4A9F-B943-5F204ABDA995}" srcOrd="1" destOrd="0" presId="urn:microsoft.com/office/officeart/2011/layout/TabList"/>
    <dgm:cxn modelId="{8AD272E9-A373-48EC-A997-FDC5B6722767}" type="presParOf" srcId="{2BE81382-D2CF-4FDB-9981-E5387CBA3B1C}" destId="{9C4FA774-8559-45BD-AE35-8B51F76610BF}" srcOrd="2" destOrd="0" presId="urn:microsoft.com/office/officeart/2011/layout/TabList"/>
    <dgm:cxn modelId="{EADFAD15-93F8-4819-AF1A-9A0AA097D0D2}" type="presParOf" srcId="{B418CE65-BAA2-42D8-B990-718F4234D7A9}" destId="{3299E75B-026D-44BE-AB7F-04E1BC887382}" srcOrd="11" destOrd="0" presId="urn:microsoft.com/office/officeart/2011/layout/TabList"/>
    <dgm:cxn modelId="{35DDC073-7B5A-4843-A0A2-B85A1B58C3CC}" type="presParOf" srcId="{B418CE65-BAA2-42D8-B990-718F4234D7A9}" destId="{A9E0AAD8-A0DF-43FD-A09E-BA9545ACB45E}" srcOrd="12" destOrd="0" presId="urn:microsoft.com/office/officeart/2011/layout/TabList"/>
    <dgm:cxn modelId="{8F17D6B1-CFB8-45A0-9D7E-922E70B507FC}" type="presParOf" srcId="{A9E0AAD8-A0DF-43FD-A09E-BA9545ACB45E}" destId="{0EAEA6F8-8D35-46B4-BB2C-752999737932}" srcOrd="0" destOrd="0" presId="urn:microsoft.com/office/officeart/2011/layout/TabList"/>
    <dgm:cxn modelId="{C55C80F2-7BC6-4D78-9CE8-855EC8BD651B}" type="presParOf" srcId="{A9E0AAD8-A0DF-43FD-A09E-BA9545ACB45E}" destId="{0735FCEE-C2CB-48FE-AAB1-B4CDD852BA54}" srcOrd="1" destOrd="0" presId="urn:microsoft.com/office/officeart/2011/layout/TabList"/>
    <dgm:cxn modelId="{082EF5E6-64B9-4F11-954A-62B8CD97B7B0}" type="presParOf" srcId="{A9E0AAD8-A0DF-43FD-A09E-BA9545ACB45E}" destId="{F5957313-719C-4AB2-8E4D-335379354495}" srcOrd="2"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C9BF987-3681-4A16-B23F-981FFA557CD4}"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US"/>
        </a:p>
      </dgm:t>
    </dgm:pt>
    <dgm:pt modelId="{555B1E7C-CBB7-42AE-A893-8831E993DC0B}">
      <dgm:prSet phldrT="[Text]"/>
      <dgm:spPr/>
      <dgm:t>
        <a:bodyPr/>
        <a:lstStyle/>
        <a:p>
          <a:pPr algn="l"/>
          <a:r>
            <a:rPr lang="en-US"/>
            <a:t>OBJECTIVE</a:t>
          </a:r>
        </a:p>
      </dgm:t>
    </dgm:pt>
    <dgm:pt modelId="{3F9610D0-9C6C-43D5-A849-F678F56EC939}" type="parTrans" cxnId="{148B4603-E7E2-4971-AFEF-33D343DF91DF}">
      <dgm:prSet/>
      <dgm:spPr/>
      <dgm:t>
        <a:bodyPr/>
        <a:lstStyle/>
        <a:p>
          <a:endParaRPr lang="en-US"/>
        </a:p>
      </dgm:t>
    </dgm:pt>
    <dgm:pt modelId="{CF3E4579-F473-4B52-8E8C-8CEC2B86332D}" type="sibTrans" cxnId="{148B4603-E7E2-4971-AFEF-33D343DF91DF}">
      <dgm:prSet/>
      <dgm:spPr/>
      <dgm:t>
        <a:bodyPr/>
        <a:lstStyle/>
        <a:p>
          <a:endParaRPr lang="en-US"/>
        </a:p>
      </dgm:t>
    </dgm:pt>
    <dgm:pt modelId="{1B2CDC75-2F73-48C2-85B8-DC825883F6F1}">
      <dgm:prSet phldrT="[Text]"/>
      <dgm:spPr/>
      <dgm:t>
        <a:bodyPr/>
        <a:lstStyle/>
        <a:p>
          <a:pPr>
            <a:lnSpc>
              <a:spcPct val="100000"/>
            </a:lnSpc>
          </a:pPr>
          <a:r>
            <a:rPr lang="en-US"/>
            <a:t>  </a:t>
          </a:r>
        </a:p>
      </dgm:t>
    </dgm:pt>
    <dgm:pt modelId="{DED7FE44-35E6-4AEA-8FB0-6A62A8D90524}" type="parTrans" cxnId="{69CEA351-D24E-485A-ADE7-4E90E042DF93}">
      <dgm:prSet/>
      <dgm:spPr/>
      <dgm:t>
        <a:bodyPr/>
        <a:lstStyle/>
        <a:p>
          <a:endParaRPr lang="en-US"/>
        </a:p>
      </dgm:t>
    </dgm:pt>
    <dgm:pt modelId="{D08324DA-DBB3-4F79-AA68-D315540990A2}" type="sibTrans" cxnId="{69CEA351-D24E-485A-ADE7-4E90E042DF93}">
      <dgm:prSet/>
      <dgm:spPr/>
      <dgm:t>
        <a:bodyPr/>
        <a:lstStyle/>
        <a:p>
          <a:endParaRPr lang="en-US"/>
        </a:p>
      </dgm:t>
    </dgm:pt>
    <dgm:pt modelId="{42BFC612-4636-4FA1-A80B-6165592D8617}">
      <dgm:prSet phldrT="[Text]"/>
      <dgm:spPr/>
      <dgm:t>
        <a:bodyPr/>
        <a:lstStyle/>
        <a:p>
          <a:pPr algn="l"/>
          <a:r>
            <a:rPr lang="en-US"/>
            <a:t>PARTICIPATION</a:t>
          </a:r>
        </a:p>
      </dgm:t>
    </dgm:pt>
    <dgm:pt modelId="{5F572273-618C-455B-8C45-581DA4C38191}" type="parTrans" cxnId="{84728A98-D2C5-4ADA-BF41-3E3E723E9B2F}">
      <dgm:prSet/>
      <dgm:spPr/>
      <dgm:t>
        <a:bodyPr/>
        <a:lstStyle/>
        <a:p>
          <a:endParaRPr lang="en-US"/>
        </a:p>
      </dgm:t>
    </dgm:pt>
    <dgm:pt modelId="{43553942-B4B7-4CCE-9FA1-73C3A60CF503}" type="sibTrans" cxnId="{84728A98-D2C5-4ADA-BF41-3E3E723E9B2F}">
      <dgm:prSet/>
      <dgm:spPr/>
      <dgm:t>
        <a:bodyPr/>
        <a:lstStyle/>
        <a:p>
          <a:endParaRPr lang="en-US"/>
        </a:p>
      </dgm:t>
    </dgm:pt>
    <dgm:pt modelId="{3CC11C82-3BBD-45FF-9966-585B8D6EDCA4}">
      <dgm:prSet phldrT="[Text]" custT="1"/>
      <dgm:spPr/>
      <dgm:t>
        <a:bodyPr/>
        <a:lstStyle/>
        <a:p>
          <a:pPr>
            <a:lnSpc>
              <a:spcPct val="100000"/>
            </a:lnSpc>
          </a:pPr>
          <a:r>
            <a:rPr lang="en-US" sz="2000"/>
            <a:t>Pilot Vendor Cohort: six pilot vendors </a:t>
          </a:r>
        </a:p>
      </dgm:t>
    </dgm:pt>
    <dgm:pt modelId="{3C6588C5-07B0-40D3-B760-8BC869E6D471}" type="parTrans" cxnId="{E351C18C-C71B-49B7-BA90-F08B55718222}">
      <dgm:prSet/>
      <dgm:spPr/>
      <dgm:t>
        <a:bodyPr/>
        <a:lstStyle/>
        <a:p>
          <a:endParaRPr lang="en-US"/>
        </a:p>
      </dgm:t>
    </dgm:pt>
    <dgm:pt modelId="{3D96F4CA-303D-42EF-A0DE-AE84F9C3E234}" type="sibTrans" cxnId="{E351C18C-C71B-49B7-BA90-F08B55718222}">
      <dgm:prSet/>
      <dgm:spPr/>
      <dgm:t>
        <a:bodyPr/>
        <a:lstStyle/>
        <a:p>
          <a:endParaRPr lang="en-US"/>
        </a:p>
      </dgm:t>
    </dgm:pt>
    <dgm:pt modelId="{96286068-2405-457B-9C0C-BB829DE95A3A}">
      <dgm:prSet phldrT="[Text]"/>
      <dgm:spPr/>
      <dgm:t>
        <a:bodyPr/>
        <a:lstStyle/>
        <a:p>
          <a:pPr algn="l"/>
          <a:r>
            <a:rPr lang="en-US"/>
            <a:t>LEA PARTNERS</a:t>
          </a:r>
        </a:p>
      </dgm:t>
    </dgm:pt>
    <dgm:pt modelId="{9DE51569-83DA-40BC-BEE3-C9621AFE8F74}" type="parTrans" cxnId="{1C890370-E78E-4565-A705-A5FD2C0C49FC}">
      <dgm:prSet/>
      <dgm:spPr/>
      <dgm:t>
        <a:bodyPr/>
        <a:lstStyle/>
        <a:p>
          <a:endParaRPr lang="en-US"/>
        </a:p>
      </dgm:t>
    </dgm:pt>
    <dgm:pt modelId="{EA589821-0078-4AE5-AC93-EA71A8D85DB5}" type="sibTrans" cxnId="{1C890370-E78E-4565-A705-A5FD2C0C49FC}">
      <dgm:prSet/>
      <dgm:spPr/>
      <dgm:t>
        <a:bodyPr/>
        <a:lstStyle/>
        <a:p>
          <a:endParaRPr lang="en-US"/>
        </a:p>
      </dgm:t>
    </dgm:pt>
    <dgm:pt modelId="{AEA3AE28-C1FB-4FCA-A79D-22792340226D}">
      <dgm:prSet phldrT="[Text]"/>
      <dgm:spPr/>
      <dgm:t>
        <a:bodyPr/>
        <a:lstStyle/>
        <a:p>
          <a:pPr>
            <a:lnSpc>
              <a:spcPct val="100000"/>
            </a:lnSpc>
          </a:pPr>
          <a:r>
            <a:rPr lang="en-US"/>
            <a:t>  </a:t>
          </a:r>
        </a:p>
      </dgm:t>
    </dgm:pt>
    <dgm:pt modelId="{FDD9381E-5AF5-487E-9143-DFEB0EE82EBA}" type="parTrans" cxnId="{9C176301-CA1B-43F5-98CB-EA34361BFED9}">
      <dgm:prSet/>
      <dgm:spPr/>
      <dgm:t>
        <a:bodyPr/>
        <a:lstStyle/>
        <a:p>
          <a:endParaRPr lang="en-US"/>
        </a:p>
      </dgm:t>
    </dgm:pt>
    <dgm:pt modelId="{F3434BB0-87B0-4FD8-830E-01028ECF79BF}" type="sibTrans" cxnId="{9C176301-CA1B-43F5-98CB-EA34361BFED9}">
      <dgm:prSet/>
      <dgm:spPr/>
      <dgm:t>
        <a:bodyPr/>
        <a:lstStyle/>
        <a:p>
          <a:endParaRPr lang="en-US"/>
        </a:p>
      </dgm:t>
    </dgm:pt>
    <dgm:pt modelId="{6BC9E5D2-6BC1-4405-AF92-C94D685EEA6C}">
      <dgm:prSet phldrT="[Text]" custT="1"/>
      <dgm:spPr/>
      <dgm:t>
        <a:bodyPr/>
        <a:lstStyle/>
        <a:p>
          <a:pPr>
            <a:lnSpc>
              <a:spcPct val="100000"/>
            </a:lnSpc>
          </a:pPr>
          <a:r>
            <a:rPr lang="en-US" sz="2000"/>
            <a:t>Testing focused on API transactions and promotions based upon effective dating</a:t>
          </a:r>
        </a:p>
      </dgm:t>
    </dgm:pt>
    <dgm:pt modelId="{EB5438AC-4352-4E0B-9E2B-7822C6077A22}" type="parTrans" cxnId="{EABBDAC4-221A-48BF-ADA4-FB85166A99B3}">
      <dgm:prSet/>
      <dgm:spPr/>
      <dgm:t>
        <a:bodyPr/>
        <a:lstStyle/>
        <a:p>
          <a:endParaRPr lang="en-US"/>
        </a:p>
      </dgm:t>
    </dgm:pt>
    <dgm:pt modelId="{61487B49-51DE-45E0-9920-349DA54A9607}" type="sibTrans" cxnId="{EABBDAC4-221A-48BF-ADA4-FB85166A99B3}">
      <dgm:prSet/>
      <dgm:spPr/>
      <dgm:t>
        <a:bodyPr/>
        <a:lstStyle/>
        <a:p>
          <a:endParaRPr lang="en-US"/>
        </a:p>
      </dgm:t>
    </dgm:pt>
    <dgm:pt modelId="{ACB17AA8-82D6-4726-8270-545628141FEA}">
      <dgm:prSet phldrT="[Text]"/>
      <dgm:spPr/>
      <dgm:t>
        <a:bodyPr/>
        <a:lstStyle/>
        <a:p>
          <a:pPr>
            <a:lnSpc>
              <a:spcPct val="100000"/>
            </a:lnSpc>
          </a:pPr>
          <a:r>
            <a:rPr lang="en-US"/>
            <a:t>  </a:t>
          </a:r>
        </a:p>
      </dgm:t>
    </dgm:pt>
    <dgm:pt modelId="{69C5B527-9C4B-4373-A507-7468263174A6}" type="sibTrans" cxnId="{8903139B-658A-49FD-8F56-4B75D3007D9A}">
      <dgm:prSet/>
      <dgm:spPr/>
      <dgm:t>
        <a:bodyPr/>
        <a:lstStyle/>
        <a:p>
          <a:endParaRPr lang="en-US"/>
        </a:p>
      </dgm:t>
    </dgm:pt>
    <dgm:pt modelId="{CB96BB47-76B1-44D1-B0E5-A052B3C712CB}" type="parTrans" cxnId="{8903139B-658A-49FD-8F56-4B75D3007D9A}">
      <dgm:prSet/>
      <dgm:spPr/>
      <dgm:t>
        <a:bodyPr/>
        <a:lstStyle/>
        <a:p>
          <a:endParaRPr lang="en-US"/>
        </a:p>
      </dgm:t>
    </dgm:pt>
    <dgm:pt modelId="{380BBB8A-4AD9-4140-814D-2750DE7ACF7F}">
      <dgm:prSet phldrT="[Text]"/>
      <dgm:spPr/>
      <dgm:t>
        <a:bodyPr/>
        <a:lstStyle/>
        <a:p>
          <a:pPr>
            <a:lnSpc>
              <a:spcPct val="100000"/>
            </a:lnSpc>
          </a:pPr>
          <a:endParaRPr lang="en-US" sz="1800"/>
        </a:p>
      </dgm:t>
    </dgm:pt>
    <dgm:pt modelId="{F827DB39-5274-486F-BBF5-6E193B1F8770}" type="parTrans" cxnId="{61D38150-CA7B-480A-82E5-E541520D1AC6}">
      <dgm:prSet/>
      <dgm:spPr/>
      <dgm:t>
        <a:bodyPr/>
        <a:lstStyle/>
        <a:p>
          <a:endParaRPr lang="en-US"/>
        </a:p>
      </dgm:t>
    </dgm:pt>
    <dgm:pt modelId="{2D5A03F3-FF83-43DA-84A4-EAB21260B42B}" type="sibTrans" cxnId="{61D38150-CA7B-480A-82E5-E541520D1AC6}">
      <dgm:prSet/>
      <dgm:spPr/>
      <dgm:t>
        <a:bodyPr/>
        <a:lstStyle/>
        <a:p>
          <a:endParaRPr lang="en-US"/>
        </a:p>
      </dgm:t>
    </dgm:pt>
    <dgm:pt modelId="{6A300354-A487-453E-8405-998F675185BE}">
      <dgm:prSet phldrT="[Text]" custT="1"/>
      <dgm:spPr/>
      <dgm:t>
        <a:bodyPr/>
        <a:lstStyle/>
        <a:p>
          <a:pPr>
            <a:lnSpc>
              <a:spcPct val="100000"/>
            </a:lnSpc>
          </a:pPr>
          <a:r>
            <a:rPr lang="en-US" sz="2000"/>
            <a:t>One or more LEAs for each vendor product being piloted</a:t>
          </a:r>
        </a:p>
      </dgm:t>
    </dgm:pt>
    <dgm:pt modelId="{CA152DC1-D3DC-41FB-8F03-66549D60C56F}" type="parTrans" cxnId="{9BE15494-C7C4-4B48-9325-D42D59772D36}">
      <dgm:prSet/>
      <dgm:spPr/>
      <dgm:t>
        <a:bodyPr/>
        <a:lstStyle/>
        <a:p>
          <a:endParaRPr lang="en-US"/>
        </a:p>
      </dgm:t>
    </dgm:pt>
    <dgm:pt modelId="{CBDD1387-8CF0-4362-9E90-0EA0872ADBC9}" type="sibTrans" cxnId="{9BE15494-C7C4-4B48-9325-D42D59772D36}">
      <dgm:prSet/>
      <dgm:spPr/>
      <dgm:t>
        <a:bodyPr/>
        <a:lstStyle/>
        <a:p>
          <a:endParaRPr lang="en-US"/>
        </a:p>
      </dgm:t>
    </dgm:pt>
    <dgm:pt modelId="{173E745D-5837-47E6-9D4B-8C1C11B33859}">
      <dgm:prSet phldrT="[Text]" custT="1"/>
      <dgm:spPr/>
      <dgm:t>
        <a:bodyPr/>
        <a:lstStyle/>
        <a:p>
          <a:pPr>
            <a:lnSpc>
              <a:spcPct val="100000"/>
            </a:lnSpc>
          </a:pPr>
          <a:r>
            <a:rPr lang="en-US" sz="2000"/>
            <a:t>Limited testing of business rule validations based upon data available </a:t>
          </a:r>
        </a:p>
      </dgm:t>
    </dgm:pt>
    <dgm:pt modelId="{8E9BF937-ACBB-4EAD-9C58-ECDCE5CAA78D}" type="parTrans" cxnId="{EFAD179D-628E-4FA8-BEC7-2FE56792F637}">
      <dgm:prSet/>
      <dgm:spPr/>
      <dgm:t>
        <a:bodyPr/>
        <a:lstStyle/>
        <a:p>
          <a:endParaRPr lang="en-US"/>
        </a:p>
      </dgm:t>
    </dgm:pt>
    <dgm:pt modelId="{68E02801-FE36-41CA-8BAB-633CE5CAB635}" type="sibTrans" cxnId="{EFAD179D-628E-4FA8-BEC7-2FE56792F637}">
      <dgm:prSet/>
      <dgm:spPr/>
      <dgm:t>
        <a:bodyPr/>
        <a:lstStyle/>
        <a:p>
          <a:endParaRPr lang="en-US"/>
        </a:p>
      </dgm:t>
    </dgm:pt>
    <dgm:pt modelId="{9BE867DE-C434-47BD-8B5A-14FF06921B0A}">
      <dgm:prSet phldrT="[Text]" custT="1"/>
      <dgm:spPr/>
      <dgm:t>
        <a:bodyPr/>
        <a:lstStyle/>
        <a:p>
          <a:pPr>
            <a:lnSpc>
              <a:spcPct val="100000"/>
            </a:lnSpc>
          </a:pPr>
          <a:r>
            <a:rPr lang="en-US" sz="2000"/>
            <a:t>A minimum time commitment for LEAs (approximately 2-4 weeks) </a:t>
          </a:r>
        </a:p>
      </dgm:t>
    </dgm:pt>
    <dgm:pt modelId="{5B8BC52D-B589-4629-96C8-71A6FBF1C85E}" type="parTrans" cxnId="{C72DCE45-39AE-4491-B97D-4C92283E4203}">
      <dgm:prSet/>
      <dgm:spPr/>
      <dgm:t>
        <a:bodyPr/>
        <a:lstStyle/>
        <a:p>
          <a:endParaRPr lang="en-US"/>
        </a:p>
      </dgm:t>
    </dgm:pt>
    <dgm:pt modelId="{383EB98D-9D1B-4CCE-8F99-C61B88BD988F}" type="sibTrans" cxnId="{C72DCE45-39AE-4491-B97D-4C92283E4203}">
      <dgm:prSet/>
      <dgm:spPr/>
      <dgm:t>
        <a:bodyPr/>
        <a:lstStyle/>
        <a:p>
          <a:endParaRPr lang="en-US"/>
        </a:p>
      </dgm:t>
    </dgm:pt>
    <dgm:pt modelId="{ADF0BF59-E923-4922-B3F4-3B0EAFE13500}">
      <dgm:prSet phldrT="[Text]" custT="1"/>
      <dgm:spPr/>
      <dgm:t>
        <a:bodyPr/>
        <a:lstStyle/>
        <a:p>
          <a:pPr>
            <a:lnSpc>
              <a:spcPct val="100000"/>
            </a:lnSpc>
          </a:pPr>
          <a:r>
            <a:rPr lang="en-US" sz="2000"/>
            <a:t>Verification of Production data being published to Landing Zone and promoted through TSDS</a:t>
          </a:r>
        </a:p>
      </dgm:t>
    </dgm:pt>
    <dgm:pt modelId="{B3EF1D31-A0D1-4325-9F12-DA418C606EA4}" type="parTrans" cxnId="{2BC1BF48-A9F1-4416-88AD-B8D96B8C5307}">
      <dgm:prSet/>
      <dgm:spPr/>
      <dgm:t>
        <a:bodyPr/>
        <a:lstStyle/>
        <a:p>
          <a:endParaRPr lang="en-US"/>
        </a:p>
      </dgm:t>
    </dgm:pt>
    <dgm:pt modelId="{9539519A-3E78-465C-9655-70815BB6F8B0}" type="sibTrans" cxnId="{2BC1BF48-A9F1-4416-88AD-B8D96B8C5307}">
      <dgm:prSet/>
      <dgm:spPr/>
      <dgm:t>
        <a:bodyPr/>
        <a:lstStyle/>
        <a:p>
          <a:endParaRPr lang="en-US"/>
        </a:p>
      </dgm:t>
    </dgm:pt>
    <dgm:pt modelId="{16CDAC59-4199-4D47-A1FF-9312F219218F}">
      <dgm:prSet phldrT="[Text]" custT="1"/>
      <dgm:spPr/>
      <dgm:t>
        <a:bodyPr/>
        <a:lstStyle/>
        <a:p>
          <a:pPr>
            <a:lnSpc>
              <a:spcPct val="100000"/>
            </a:lnSpc>
          </a:pPr>
          <a:r>
            <a:rPr lang="en-US" sz="2000"/>
            <a:t>Validation of the user experience for the Data Hub application </a:t>
          </a:r>
        </a:p>
      </dgm:t>
    </dgm:pt>
    <dgm:pt modelId="{3F738315-5CF9-44B8-B597-F676C1563FD5}" type="parTrans" cxnId="{EEE32F7C-FB72-4AA4-984D-23043134B0DB}">
      <dgm:prSet/>
      <dgm:spPr/>
      <dgm:t>
        <a:bodyPr/>
        <a:lstStyle/>
        <a:p>
          <a:endParaRPr lang="en-US"/>
        </a:p>
      </dgm:t>
    </dgm:pt>
    <dgm:pt modelId="{A6D2B1B8-1A40-44AD-8458-EA6E15BB2A8E}" type="sibTrans" cxnId="{EEE32F7C-FB72-4AA4-984D-23043134B0DB}">
      <dgm:prSet/>
      <dgm:spPr/>
      <dgm:t>
        <a:bodyPr/>
        <a:lstStyle/>
        <a:p>
          <a:endParaRPr lang="en-US"/>
        </a:p>
      </dgm:t>
    </dgm:pt>
    <dgm:pt modelId="{20DD6182-9902-4FC9-9C7D-39D8D79D423C}">
      <dgm:prSet phldrT="[Text]" custT="1"/>
      <dgm:spPr/>
      <dgm:t>
        <a:bodyPr/>
        <a:lstStyle/>
        <a:p>
          <a:pPr>
            <a:lnSpc>
              <a:spcPct val="100000"/>
            </a:lnSpc>
          </a:pPr>
          <a:r>
            <a:rPr lang="en-US" sz="2000"/>
            <a:t>Confirmation of business rules for PEIMS Fall, Class Roster, and Child Find</a:t>
          </a:r>
        </a:p>
      </dgm:t>
    </dgm:pt>
    <dgm:pt modelId="{D341B635-5B0F-4492-94AF-804AA1FE53D1}" type="parTrans" cxnId="{62A02FC5-2C5A-42A8-B3C2-B98565A50E2E}">
      <dgm:prSet/>
      <dgm:spPr/>
      <dgm:t>
        <a:bodyPr/>
        <a:lstStyle/>
        <a:p>
          <a:endParaRPr lang="en-US"/>
        </a:p>
      </dgm:t>
    </dgm:pt>
    <dgm:pt modelId="{48D2E966-C8ED-42AE-ACC6-A046C4E5F80F}" type="sibTrans" cxnId="{62A02FC5-2C5A-42A8-B3C2-B98565A50E2E}">
      <dgm:prSet/>
      <dgm:spPr/>
      <dgm:t>
        <a:bodyPr/>
        <a:lstStyle/>
        <a:p>
          <a:endParaRPr lang="en-US"/>
        </a:p>
      </dgm:t>
    </dgm:pt>
    <dgm:pt modelId="{3686B3ED-6963-4DE9-A124-CDAA81573A26}" type="pres">
      <dgm:prSet presAssocID="{DC9BF987-3681-4A16-B23F-981FFA557CD4}" presName="Name0" presStyleCnt="0">
        <dgm:presLayoutVars>
          <dgm:chMax/>
          <dgm:chPref val="3"/>
          <dgm:dir/>
          <dgm:animOne val="branch"/>
          <dgm:animLvl val="lvl"/>
        </dgm:presLayoutVars>
      </dgm:prSet>
      <dgm:spPr/>
    </dgm:pt>
    <dgm:pt modelId="{47A53ECF-66E6-4202-BE91-D9427866E61F}" type="pres">
      <dgm:prSet presAssocID="{555B1E7C-CBB7-42AE-A893-8831E993DC0B}" presName="composite" presStyleCnt="0"/>
      <dgm:spPr/>
    </dgm:pt>
    <dgm:pt modelId="{E3D61281-825A-4ECE-8431-50E8AB462F18}" type="pres">
      <dgm:prSet presAssocID="{555B1E7C-CBB7-42AE-A893-8831E993DC0B}" presName="FirstChild" presStyleLbl="revTx" presStyleIdx="0" presStyleCnt="6">
        <dgm:presLayoutVars>
          <dgm:chMax val="0"/>
          <dgm:chPref val="0"/>
          <dgm:bulletEnabled val="1"/>
        </dgm:presLayoutVars>
      </dgm:prSet>
      <dgm:spPr/>
    </dgm:pt>
    <dgm:pt modelId="{B8E23B32-295B-4DDF-85ED-9B2933CA4EB6}" type="pres">
      <dgm:prSet presAssocID="{555B1E7C-CBB7-42AE-A893-8831E993DC0B}" presName="Parent" presStyleLbl="alignNode1" presStyleIdx="0" presStyleCnt="3">
        <dgm:presLayoutVars>
          <dgm:chMax val="3"/>
          <dgm:chPref val="3"/>
          <dgm:bulletEnabled val="1"/>
        </dgm:presLayoutVars>
      </dgm:prSet>
      <dgm:spPr/>
    </dgm:pt>
    <dgm:pt modelId="{EF211440-F275-4583-B7F4-D1534DD8E693}" type="pres">
      <dgm:prSet presAssocID="{555B1E7C-CBB7-42AE-A893-8831E993DC0B}" presName="Accent" presStyleLbl="parChTrans1D1" presStyleIdx="0" presStyleCnt="3"/>
      <dgm:spPr/>
    </dgm:pt>
    <dgm:pt modelId="{EC5DF9EE-8AB9-42B0-9F82-BEB6DDF28D26}" type="pres">
      <dgm:prSet presAssocID="{555B1E7C-CBB7-42AE-A893-8831E993DC0B}" presName="Child" presStyleLbl="revTx" presStyleIdx="1" presStyleCnt="6" custScaleY="133130">
        <dgm:presLayoutVars>
          <dgm:chMax val="0"/>
          <dgm:chPref val="0"/>
          <dgm:bulletEnabled val="1"/>
        </dgm:presLayoutVars>
      </dgm:prSet>
      <dgm:spPr/>
    </dgm:pt>
    <dgm:pt modelId="{7ACDB898-5876-413A-98D1-C726494CD1CB}" type="pres">
      <dgm:prSet presAssocID="{CF3E4579-F473-4B52-8E8C-8CEC2B86332D}" presName="sibTrans" presStyleCnt="0"/>
      <dgm:spPr/>
    </dgm:pt>
    <dgm:pt modelId="{E3ECCD31-4500-45C5-8347-30F7C4C2BEFA}" type="pres">
      <dgm:prSet presAssocID="{42BFC612-4636-4FA1-A80B-6165592D8617}" presName="composite" presStyleCnt="0"/>
      <dgm:spPr/>
    </dgm:pt>
    <dgm:pt modelId="{AEE8CF64-2D88-45F8-BCAC-860D7A630D12}" type="pres">
      <dgm:prSet presAssocID="{42BFC612-4636-4FA1-A80B-6165592D8617}" presName="FirstChild" presStyleLbl="revTx" presStyleIdx="2" presStyleCnt="6">
        <dgm:presLayoutVars>
          <dgm:chMax val="0"/>
          <dgm:chPref val="0"/>
          <dgm:bulletEnabled val="1"/>
        </dgm:presLayoutVars>
      </dgm:prSet>
      <dgm:spPr/>
    </dgm:pt>
    <dgm:pt modelId="{E7ECDBFA-6653-42C1-A1A3-2A51389B6005}" type="pres">
      <dgm:prSet presAssocID="{42BFC612-4636-4FA1-A80B-6165592D8617}" presName="Parent" presStyleLbl="alignNode1" presStyleIdx="1" presStyleCnt="3">
        <dgm:presLayoutVars>
          <dgm:chMax val="3"/>
          <dgm:chPref val="3"/>
          <dgm:bulletEnabled val="1"/>
        </dgm:presLayoutVars>
      </dgm:prSet>
      <dgm:spPr/>
    </dgm:pt>
    <dgm:pt modelId="{3EA9E6E5-305D-4627-B9DF-047B975D2939}" type="pres">
      <dgm:prSet presAssocID="{42BFC612-4636-4FA1-A80B-6165592D8617}" presName="Accent" presStyleLbl="parChTrans1D1" presStyleIdx="1" presStyleCnt="3"/>
      <dgm:spPr/>
    </dgm:pt>
    <dgm:pt modelId="{3132E146-6FD6-4B8D-85BC-0F17BF11EE28}" type="pres">
      <dgm:prSet presAssocID="{42BFC612-4636-4FA1-A80B-6165592D8617}" presName="Child" presStyleLbl="revTx" presStyleIdx="3" presStyleCnt="6" custScaleY="120489">
        <dgm:presLayoutVars>
          <dgm:chMax val="0"/>
          <dgm:chPref val="0"/>
          <dgm:bulletEnabled val="1"/>
        </dgm:presLayoutVars>
      </dgm:prSet>
      <dgm:spPr/>
    </dgm:pt>
    <dgm:pt modelId="{59194E0A-204C-456B-86AB-D7FB15D6945B}" type="pres">
      <dgm:prSet presAssocID="{43553942-B4B7-4CCE-9FA1-73C3A60CF503}" presName="sibTrans" presStyleCnt="0"/>
      <dgm:spPr/>
    </dgm:pt>
    <dgm:pt modelId="{A74E0C3C-A293-41A6-A758-2DDE668F530A}" type="pres">
      <dgm:prSet presAssocID="{96286068-2405-457B-9C0C-BB829DE95A3A}" presName="composite" presStyleCnt="0"/>
      <dgm:spPr/>
    </dgm:pt>
    <dgm:pt modelId="{46407045-E0D2-4F15-BEB1-71DF3F9BB629}" type="pres">
      <dgm:prSet presAssocID="{96286068-2405-457B-9C0C-BB829DE95A3A}" presName="FirstChild" presStyleLbl="revTx" presStyleIdx="4" presStyleCnt="6">
        <dgm:presLayoutVars>
          <dgm:chMax val="0"/>
          <dgm:chPref val="0"/>
          <dgm:bulletEnabled val="1"/>
        </dgm:presLayoutVars>
      </dgm:prSet>
      <dgm:spPr/>
    </dgm:pt>
    <dgm:pt modelId="{503CB015-3EB7-4A96-9B00-0E233D038D50}" type="pres">
      <dgm:prSet presAssocID="{96286068-2405-457B-9C0C-BB829DE95A3A}" presName="Parent" presStyleLbl="alignNode1" presStyleIdx="2" presStyleCnt="3">
        <dgm:presLayoutVars>
          <dgm:chMax val="3"/>
          <dgm:chPref val="3"/>
          <dgm:bulletEnabled val="1"/>
        </dgm:presLayoutVars>
      </dgm:prSet>
      <dgm:spPr/>
    </dgm:pt>
    <dgm:pt modelId="{6B54DD2B-1023-49B6-9ADB-B670722D13DF}" type="pres">
      <dgm:prSet presAssocID="{96286068-2405-457B-9C0C-BB829DE95A3A}" presName="Accent" presStyleLbl="parChTrans1D1" presStyleIdx="2" presStyleCnt="3"/>
      <dgm:spPr/>
    </dgm:pt>
    <dgm:pt modelId="{CF5372AA-77ED-48EF-8979-11D3D152BA4C}" type="pres">
      <dgm:prSet presAssocID="{96286068-2405-457B-9C0C-BB829DE95A3A}" presName="Child" presStyleLbl="revTx" presStyleIdx="5" presStyleCnt="6">
        <dgm:presLayoutVars>
          <dgm:chMax val="0"/>
          <dgm:chPref val="0"/>
          <dgm:bulletEnabled val="1"/>
        </dgm:presLayoutVars>
      </dgm:prSet>
      <dgm:spPr/>
    </dgm:pt>
  </dgm:ptLst>
  <dgm:cxnLst>
    <dgm:cxn modelId="{9C176301-CA1B-43F5-98CB-EA34361BFED9}" srcId="{96286068-2405-457B-9C0C-BB829DE95A3A}" destId="{AEA3AE28-C1FB-4FCA-A79D-22792340226D}" srcOrd="0" destOrd="0" parTransId="{FDD9381E-5AF5-487E-9143-DFEB0EE82EBA}" sibTransId="{F3434BB0-87B0-4FD8-830E-01028ECF79BF}"/>
    <dgm:cxn modelId="{148B4603-E7E2-4971-AFEF-33D343DF91DF}" srcId="{DC9BF987-3681-4A16-B23F-981FFA557CD4}" destId="{555B1E7C-CBB7-42AE-A893-8831E993DC0B}" srcOrd="0" destOrd="0" parTransId="{3F9610D0-9C6C-43D5-A849-F678F56EC939}" sibTransId="{CF3E4579-F473-4B52-8E8C-8CEC2B86332D}"/>
    <dgm:cxn modelId="{0C064308-2A52-4F15-B25F-5A16CC79CFEB}" type="presOf" srcId="{173E745D-5837-47E6-9D4B-8C1C11B33859}" destId="{CF5372AA-77ED-48EF-8979-11D3D152BA4C}" srcOrd="0" destOrd="2" presId="urn:microsoft.com/office/officeart/2011/layout/TabList"/>
    <dgm:cxn modelId="{D1B0AF0A-A4D2-4762-A63E-67DB618C159F}" type="presOf" srcId="{3CC11C82-3BBD-45FF-9966-585B8D6EDCA4}" destId="{3132E146-6FD6-4B8D-85BC-0F17BF11EE28}" srcOrd="0" destOrd="0" presId="urn:microsoft.com/office/officeart/2011/layout/TabList"/>
    <dgm:cxn modelId="{C6B9F613-D310-4BA5-9434-4444D60863F9}" type="presOf" srcId="{9BE867DE-C434-47BD-8B5A-14FF06921B0A}" destId="{CF5372AA-77ED-48EF-8979-11D3D152BA4C}" srcOrd="0" destOrd="0" presId="urn:microsoft.com/office/officeart/2011/layout/TabList"/>
    <dgm:cxn modelId="{AB82721B-F335-4EEA-9D29-EAD56B7F56F8}" type="presOf" srcId="{96286068-2405-457B-9C0C-BB829DE95A3A}" destId="{503CB015-3EB7-4A96-9B00-0E233D038D50}" srcOrd="0" destOrd="0" presId="urn:microsoft.com/office/officeart/2011/layout/TabList"/>
    <dgm:cxn modelId="{2AF25B28-A0EA-4938-A45B-E8E3A26C84A2}" type="presOf" srcId="{1B2CDC75-2F73-48C2-85B8-DC825883F6F1}" destId="{E3D61281-825A-4ECE-8431-50E8AB462F18}" srcOrd="0" destOrd="0" presId="urn:microsoft.com/office/officeart/2011/layout/TabList"/>
    <dgm:cxn modelId="{DACEBE38-170A-4AF8-A615-0F601A580A76}" type="presOf" srcId="{ADF0BF59-E923-4922-B3F4-3B0EAFE13500}" destId="{EC5DF9EE-8AB9-42B0-9F82-BEB6DDF28D26}" srcOrd="0" destOrd="0" presId="urn:microsoft.com/office/officeart/2011/layout/TabList"/>
    <dgm:cxn modelId="{C72DCE45-39AE-4491-B97D-4C92283E4203}" srcId="{96286068-2405-457B-9C0C-BB829DE95A3A}" destId="{9BE867DE-C434-47BD-8B5A-14FF06921B0A}" srcOrd="1" destOrd="0" parTransId="{5B8BC52D-B589-4629-96C8-71A6FBF1C85E}" sibTransId="{383EB98D-9D1B-4CCE-8F99-C61B88BD988F}"/>
    <dgm:cxn modelId="{A01D4A68-EA1C-4E1F-9AAD-E70D0CF6A5FE}" type="presOf" srcId="{ACB17AA8-82D6-4726-8270-545628141FEA}" destId="{AEE8CF64-2D88-45F8-BCAC-860D7A630D12}" srcOrd="0" destOrd="0" presId="urn:microsoft.com/office/officeart/2011/layout/TabList"/>
    <dgm:cxn modelId="{2BC1BF48-A9F1-4416-88AD-B8D96B8C5307}" srcId="{555B1E7C-CBB7-42AE-A893-8831E993DC0B}" destId="{ADF0BF59-E923-4922-B3F4-3B0EAFE13500}" srcOrd="1" destOrd="0" parTransId="{B3EF1D31-A0D1-4325-9F12-DA418C606EA4}" sibTransId="{9539519A-3E78-465C-9655-70815BB6F8B0}"/>
    <dgm:cxn modelId="{D3CD7049-6D37-4BF8-AA2F-E6077C1F31FB}" type="presOf" srcId="{42BFC612-4636-4FA1-A80B-6165592D8617}" destId="{E7ECDBFA-6653-42C1-A1A3-2A51389B6005}" srcOrd="0" destOrd="0" presId="urn:microsoft.com/office/officeart/2011/layout/TabList"/>
    <dgm:cxn modelId="{8E88E86C-F5B4-4705-A42A-5D0F8BE70623}" type="presOf" srcId="{DC9BF987-3681-4A16-B23F-981FFA557CD4}" destId="{3686B3ED-6963-4DE9-A124-CDAA81573A26}" srcOrd="0" destOrd="0" presId="urn:microsoft.com/office/officeart/2011/layout/TabList"/>
    <dgm:cxn modelId="{1C890370-E78E-4565-A705-A5FD2C0C49FC}" srcId="{DC9BF987-3681-4A16-B23F-981FFA557CD4}" destId="{96286068-2405-457B-9C0C-BB829DE95A3A}" srcOrd="2" destOrd="0" parTransId="{9DE51569-83DA-40BC-BEE3-C9621AFE8F74}" sibTransId="{EA589821-0078-4AE5-AC93-EA71A8D85DB5}"/>
    <dgm:cxn modelId="{61D38150-CA7B-480A-82E5-E541520D1AC6}" srcId="{96286068-2405-457B-9C0C-BB829DE95A3A}" destId="{380BBB8A-4AD9-4140-814D-2750DE7ACF7F}" srcOrd="4" destOrd="0" parTransId="{F827DB39-5274-486F-BBF5-6E193B1F8770}" sibTransId="{2D5A03F3-FF83-43DA-84A4-EAB21260B42B}"/>
    <dgm:cxn modelId="{69CEA351-D24E-485A-ADE7-4E90E042DF93}" srcId="{555B1E7C-CBB7-42AE-A893-8831E993DC0B}" destId="{1B2CDC75-2F73-48C2-85B8-DC825883F6F1}" srcOrd="0" destOrd="0" parTransId="{DED7FE44-35E6-4AEA-8FB0-6A62A8D90524}" sibTransId="{D08324DA-DBB3-4F79-AA68-D315540990A2}"/>
    <dgm:cxn modelId="{EEE32F7C-FB72-4AA4-984D-23043134B0DB}" srcId="{555B1E7C-CBB7-42AE-A893-8831E993DC0B}" destId="{16CDAC59-4199-4D47-A1FF-9312F219218F}" srcOrd="2" destOrd="0" parTransId="{3F738315-5CF9-44B8-B597-F676C1563FD5}" sibTransId="{A6D2B1B8-1A40-44AD-8458-EA6E15BB2A8E}"/>
    <dgm:cxn modelId="{77F7BB7C-C86A-47E9-903F-F7BAB29C279C}" type="presOf" srcId="{6A300354-A487-453E-8405-998F675185BE}" destId="{3132E146-6FD6-4B8D-85BC-0F17BF11EE28}" srcOrd="0" destOrd="1" presId="urn:microsoft.com/office/officeart/2011/layout/TabList"/>
    <dgm:cxn modelId="{59320C8B-F349-416F-8325-A20EE3DAED10}" type="presOf" srcId="{380BBB8A-4AD9-4140-814D-2750DE7ACF7F}" destId="{CF5372AA-77ED-48EF-8979-11D3D152BA4C}" srcOrd="0" destOrd="3" presId="urn:microsoft.com/office/officeart/2011/layout/TabList"/>
    <dgm:cxn modelId="{E351C18C-C71B-49B7-BA90-F08B55718222}" srcId="{42BFC612-4636-4FA1-A80B-6165592D8617}" destId="{3CC11C82-3BBD-45FF-9966-585B8D6EDCA4}" srcOrd="1" destOrd="0" parTransId="{3C6588C5-07B0-40D3-B760-8BC869E6D471}" sibTransId="{3D96F4CA-303D-42EF-A0DE-AE84F9C3E234}"/>
    <dgm:cxn modelId="{9BE15494-C7C4-4B48-9325-D42D59772D36}" srcId="{42BFC612-4636-4FA1-A80B-6165592D8617}" destId="{6A300354-A487-453E-8405-998F675185BE}" srcOrd="2" destOrd="0" parTransId="{CA152DC1-D3DC-41FB-8F03-66549D60C56F}" sibTransId="{CBDD1387-8CF0-4362-9E90-0EA0872ADBC9}"/>
    <dgm:cxn modelId="{84728A98-D2C5-4ADA-BF41-3E3E723E9B2F}" srcId="{DC9BF987-3681-4A16-B23F-981FFA557CD4}" destId="{42BFC612-4636-4FA1-A80B-6165592D8617}" srcOrd="1" destOrd="0" parTransId="{5F572273-618C-455B-8C45-581DA4C38191}" sibTransId="{43553942-B4B7-4CCE-9FA1-73C3A60CF503}"/>
    <dgm:cxn modelId="{8903139B-658A-49FD-8F56-4B75D3007D9A}" srcId="{42BFC612-4636-4FA1-A80B-6165592D8617}" destId="{ACB17AA8-82D6-4726-8270-545628141FEA}" srcOrd="0" destOrd="0" parTransId="{CB96BB47-76B1-44D1-B0E5-A052B3C712CB}" sibTransId="{69C5B527-9C4B-4373-A507-7468263174A6}"/>
    <dgm:cxn modelId="{EFAD179D-628E-4FA8-BEC7-2FE56792F637}" srcId="{96286068-2405-457B-9C0C-BB829DE95A3A}" destId="{173E745D-5837-47E6-9D4B-8C1C11B33859}" srcOrd="3" destOrd="0" parTransId="{8E9BF937-ACBB-4EAD-9C58-ECDCE5CAA78D}" sibTransId="{68E02801-FE36-41CA-8BAB-633CE5CAB635}"/>
    <dgm:cxn modelId="{FAEC689D-3F3C-4ADF-8327-942BA90B9E63}" type="presOf" srcId="{555B1E7C-CBB7-42AE-A893-8831E993DC0B}" destId="{B8E23B32-295B-4DDF-85ED-9B2933CA4EB6}" srcOrd="0" destOrd="0" presId="urn:microsoft.com/office/officeart/2011/layout/TabList"/>
    <dgm:cxn modelId="{3796E7A3-677D-4ED0-B1A8-933C10653E22}" type="presOf" srcId="{20DD6182-9902-4FC9-9C7D-39D8D79D423C}" destId="{EC5DF9EE-8AB9-42B0-9F82-BEB6DDF28D26}" srcOrd="0" destOrd="2" presId="urn:microsoft.com/office/officeart/2011/layout/TabList"/>
    <dgm:cxn modelId="{246465A8-CB0C-4822-B729-32A4A3BDEFBE}" type="presOf" srcId="{6BC9E5D2-6BC1-4405-AF92-C94D685EEA6C}" destId="{CF5372AA-77ED-48EF-8979-11D3D152BA4C}" srcOrd="0" destOrd="1" presId="urn:microsoft.com/office/officeart/2011/layout/TabList"/>
    <dgm:cxn modelId="{7AD66AB1-A893-44F4-8910-51B243B44FCC}" type="presOf" srcId="{16CDAC59-4199-4D47-A1FF-9312F219218F}" destId="{EC5DF9EE-8AB9-42B0-9F82-BEB6DDF28D26}" srcOrd="0" destOrd="1" presId="urn:microsoft.com/office/officeart/2011/layout/TabList"/>
    <dgm:cxn modelId="{EABBDAC4-221A-48BF-ADA4-FB85166A99B3}" srcId="{96286068-2405-457B-9C0C-BB829DE95A3A}" destId="{6BC9E5D2-6BC1-4405-AF92-C94D685EEA6C}" srcOrd="2" destOrd="0" parTransId="{EB5438AC-4352-4E0B-9E2B-7822C6077A22}" sibTransId="{61487B49-51DE-45E0-9920-349DA54A9607}"/>
    <dgm:cxn modelId="{62A02FC5-2C5A-42A8-B3C2-B98565A50E2E}" srcId="{555B1E7C-CBB7-42AE-A893-8831E993DC0B}" destId="{20DD6182-9902-4FC9-9C7D-39D8D79D423C}" srcOrd="3" destOrd="0" parTransId="{D341B635-5B0F-4492-94AF-804AA1FE53D1}" sibTransId="{48D2E966-C8ED-42AE-ACC6-A046C4E5F80F}"/>
    <dgm:cxn modelId="{C19646F2-63A4-48B2-AFE6-ACE7EA51F6C5}" type="presOf" srcId="{AEA3AE28-C1FB-4FCA-A79D-22792340226D}" destId="{46407045-E0D2-4F15-BEB1-71DF3F9BB629}" srcOrd="0" destOrd="0" presId="urn:microsoft.com/office/officeart/2011/layout/TabList"/>
    <dgm:cxn modelId="{E65B36D9-D855-4C70-ACDE-003E33435EDB}" type="presParOf" srcId="{3686B3ED-6963-4DE9-A124-CDAA81573A26}" destId="{47A53ECF-66E6-4202-BE91-D9427866E61F}" srcOrd="0" destOrd="0" presId="urn:microsoft.com/office/officeart/2011/layout/TabList"/>
    <dgm:cxn modelId="{4BB3924D-8261-4CAA-A270-10F6C2F88E0D}" type="presParOf" srcId="{47A53ECF-66E6-4202-BE91-D9427866E61F}" destId="{E3D61281-825A-4ECE-8431-50E8AB462F18}" srcOrd="0" destOrd="0" presId="urn:microsoft.com/office/officeart/2011/layout/TabList"/>
    <dgm:cxn modelId="{DE0CB894-9156-4445-BDF3-2B878E523A56}" type="presParOf" srcId="{47A53ECF-66E6-4202-BE91-D9427866E61F}" destId="{B8E23B32-295B-4DDF-85ED-9B2933CA4EB6}" srcOrd="1" destOrd="0" presId="urn:microsoft.com/office/officeart/2011/layout/TabList"/>
    <dgm:cxn modelId="{9262AF24-4174-43C9-A25D-3EA418AACF89}" type="presParOf" srcId="{47A53ECF-66E6-4202-BE91-D9427866E61F}" destId="{EF211440-F275-4583-B7F4-D1534DD8E693}" srcOrd="2" destOrd="0" presId="urn:microsoft.com/office/officeart/2011/layout/TabList"/>
    <dgm:cxn modelId="{9199C98E-8D24-458D-A1D4-F79339BCC185}" type="presParOf" srcId="{3686B3ED-6963-4DE9-A124-CDAA81573A26}" destId="{EC5DF9EE-8AB9-42B0-9F82-BEB6DDF28D26}" srcOrd="1" destOrd="0" presId="urn:microsoft.com/office/officeart/2011/layout/TabList"/>
    <dgm:cxn modelId="{C2CE7B74-4649-40A5-A2FD-5769A9346802}" type="presParOf" srcId="{3686B3ED-6963-4DE9-A124-CDAA81573A26}" destId="{7ACDB898-5876-413A-98D1-C726494CD1CB}" srcOrd="2" destOrd="0" presId="urn:microsoft.com/office/officeart/2011/layout/TabList"/>
    <dgm:cxn modelId="{1BBDEB2F-DACA-462F-B523-BEDE9F2D05F3}" type="presParOf" srcId="{3686B3ED-6963-4DE9-A124-CDAA81573A26}" destId="{E3ECCD31-4500-45C5-8347-30F7C4C2BEFA}" srcOrd="3" destOrd="0" presId="urn:microsoft.com/office/officeart/2011/layout/TabList"/>
    <dgm:cxn modelId="{D4A6D2F2-3C58-404A-B3E1-B7340F72495D}" type="presParOf" srcId="{E3ECCD31-4500-45C5-8347-30F7C4C2BEFA}" destId="{AEE8CF64-2D88-45F8-BCAC-860D7A630D12}" srcOrd="0" destOrd="0" presId="urn:microsoft.com/office/officeart/2011/layout/TabList"/>
    <dgm:cxn modelId="{12040969-1E6F-471B-AE75-F33338EFFC05}" type="presParOf" srcId="{E3ECCD31-4500-45C5-8347-30F7C4C2BEFA}" destId="{E7ECDBFA-6653-42C1-A1A3-2A51389B6005}" srcOrd="1" destOrd="0" presId="urn:microsoft.com/office/officeart/2011/layout/TabList"/>
    <dgm:cxn modelId="{5BFF2F39-4D77-4FC3-8C65-7CCAFD5F6D0E}" type="presParOf" srcId="{E3ECCD31-4500-45C5-8347-30F7C4C2BEFA}" destId="{3EA9E6E5-305D-4627-B9DF-047B975D2939}" srcOrd="2" destOrd="0" presId="urn:microsoft.com/office/officeart/2011/layout/TabList"/>
    <dgm:cxn modelId="{B329FB02-4500-48AA-8B14-B8B09DD8CC64}" type="presParOf" srcId="{3686B3ED-6963-4DE9-A124-CDAA81573A26}" destId="{3132E146-6FD6-4B8D-85BC-0F17BF11EE28}" srcOrd="4" destOrd="0" presId="urn:microsoft.com/office/officeart/2011/layout/TabList"/>
    <dgm:cxn modelId="{7EB4EEC3-5672-40AF-BDA0-780E0780EF34}" type="presParOf" srcId="{3686B3ED-6963-4DE9-A124-CDAA81573A26}" destId="{59194E0A-204C-456B-86AB-D7FB15D6945B}" srcOrd="5" destOrd="0" presId="urn:microsoft.com/office/officeart/2011/layout/TabList"/>
    <dgm:cxn modelId="{286B368B-7889-4A1D-8967-4A9ADB04F7DE}" type="presParOf" srcId="{3686B3ED-6963-4DE9-A124-CDAA81573A26}" destId="{A74E0C3C-A293-41A6-A758-2DDE668F530A}" srcOrd="6" destOrd="0" presId="urn:microsoft.com/office/officeart/2011/layout/TabList"/>
    <dgm:cxn modelId="{549213CB-4364-46F5-8B34-4E0A802BA92D}" type="presParOf" srcId="{A74E0C3C-A293-41A6-A758-2DDE668F530A}" destId="{46407045-E0D2-4F15-BEB1-71DF3F9BB629}" srcOrd="0" destOrd="0" presId="urn:microsoft.com/office/officeart/2011/layout/TabList"/>
    <dgm:cxn modelId="{FB161CE4-6A98-4716-81CF-9B6E7688A71B}" type="presParOf" srcId="{A74E0C3C-A293-41A6-A758-2DDE668F530A}" destId="{503CB015-3EB7-4A96-9B00-0E233D038D50}" srcOrd="1" destOrd="0" presId="urn:microsoft.com/office/officeart/2011/layout/TabList"/>
    <dgm:cxn modelId="{BF4AAFDD-CA8E-4D73-BC2B-D380A0F9E09C}" type="presParOf" srcId="{A74E0C3C-A293-41A6-A758-2DDE668F530A}" destId="{6B54DD2B-1023-49B6-9ADB-B670722D13DF}" srcOrd="2" destOrd="0" presId="urn:microsoft.com/office/officeart/2011/layout/TabList"/>
    <dgm:cxn modelId="{EEFFADBC-94CF-4C98-9FE7-CA18019912C3}" type="presParOf" srcId="{3686B3ED-6963-4DE9-A124-CDAA81573A26}" destId="{CF5372AA-77ED-48EF-8979-11D3D152BA4C}" srcOrd="7"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C9BF987-3681-4A16-B23F-981FFA557CD4}"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US"/>
        </a:p>
      </dgm:t>
    </dgm:pt>
    <dgm:pt modelId="{555B1E7C-CBB7-42AE-A893-8831E993DC0B}">
      <dgm:prSet phldrT="[Text]" custT="1"/>
      <dgm:spPr>
        <a:solidFill>
          <a:srgbClr val="F48668"/>
        </a:solidFill>
      </dgm:spPr>
      <dgm:t>
        <a:bodyPr/>
        <a:lstStyle/>
        <a:p>
          <a:pPr algn="l"/>
          <a:r>
            <a:rPr lang="en-US" sz="2100"/>
            <a:t>OBJECTIVE</a:t>
          </a:r>
        </a:p>
      </dgm:t>
    </dgm:pt>
    <dgm:pt modelId="{3F9610D0-9C6C-43D5-A849-F678F56EC939}" type="parTrans" cxnId="{148B4603-E7E2-4971-AFEF-33D343DF91DF}">
      <dgm:prSet/>
      <dgm:spPr/>
      <dgm:t>
        <a:bodyPr/>
        <a:lstStyle/>
        <a:p>
          <a:endParaRPr lang="en-US"/>
        </a:p>
      </dgm:t>
    </dgm:pt>
    <dgm:pt modelId="{CF3E4579-F473-4B52-8E8C-8CEC2B86332D}" type="sibTrans" cxnId="{148B4603-E7E2-4971-AFEF-33D343DF91DF}">
      <dgm:prSet/>
      <dgm:spPr/>
      <dgm:t>
        <a:bodyPr/>
        <a:lstStyle/>
        <a:p>
          <a:endParaRPr lang="en-US"/>
        </a:p>
      </dgm:t>
    </dgm:pt>
    <dgm:pt modelId="{1B2CDC75-2F73-48C2-85B8-DC825883F6F1}">
      <dgm:prSet phldrT="[Text]"/>
      <dgm:spPr/>
      <dgm:t>
        <a:bodyPr/>
        <a:lstStyle/>
        <a:p>
          <a:pPr>
            <a:lnSpc>
              <a:spcPct val="100000"/>
            </a:lnSpc>
          </a:pPr>
          <a:r>
            <a:rPr lang="en-US"/>
            <a:t>  </a:t>
          </a:r>
        </a:p>
      </dgm:t>
    </dgm:pt>
    <dgm:pt modelId="{DED7FE44-35E6-4AEA-8FB0-6A62A8D90524}" type="parTrans" cxnId="{69CEA351-D24E-485A-ADE7-4E90E042DF93}">
      <dgm:prSet/>
      <dgm:spPr/>
      <dgm:t>
        <a:bodyPr/>
        <a:lstStyle/>
        <a:p>
          <a:endParaRPr lang="en-US"/>
        </a:p>
      </dgm:t>
    </dgm:pt>
    <dgm:pt modelId="{D08324DA-DBB3-4F79-AA68-D315540990A2}" type="sibTrans" cxnId="{69CEA351-D24E-485A-ADE7-4E90E042DF93}">
      <dgm:prSet/>
      <dgm:spPr/>
      <dgm:t>
        <a:bodyPr/>
        <a:lstStyle/>
        <a:p>
          <a:endParaRPr lang="en-US"/>
        </a:p>
      </dgm:t>
    </dgm:pt>
    <dgm:pt modelId="{42BFC612-4636-4FA1-A80B-6165592D8617}">
      <dgm:prSet phldrT="[Text]" custT="1"/>
      <dgm:spPr>
        <a:solidFill>
          <a:srgbClr val="F48668"/>
        </a:solidFill>
      </dgm:spPr>
      <dgm:t>
        <a:bodyPr/>
        <a:lstStyle/>
        <a:p>
          <a:pPr algn="l"/>
          <a:r>
            <a:rPr lang="en-US" sz="2100"/>
            <a:t>PARTICIPATION</a:t>
          </a:r>
        </a:p>
      </dgm:t>
    </dgm:pt>
    <dgm:pt modelId="{5F572273-618C-455B-8C45-581DA4C38191}" type="parTrans" cxnId="{84728A98-D2C5-4ADA-BF41-3E3E723E9B2F}">
      <dgm:prSet/>
      <dgm:spPr/>
      <dgm:t>
        <a:bodyPr/>
        <a:lstStyle/>
        <a:p>
          <a:endParaRPr lang="en-US"/>
        </a:p>
      </dgm:t>
    </dgm:pt>
    <dgm:pt modelId="{43553942-B4B7-4CCE-9FA1-73C3A60CF503}" type="sibTrans" cxnId="{84728A98-D2C5-4ADA-BF41-3E3E723E9B2F}">
      <dgm:prSet/>
      <dgm:spPr/>
      <dgm:t>
        <a:bodyPr/>
        <a:lstStyle/>
        <a:p>
          <a:endParaRPr lang="en-US"/>
        </a:p>
      </dgm:t>
    </dgm:pt>
    <dgm:pt modelId="{3CC11C82-3BBD-45FF-9966-585B8D6EDCA4}">
      <dgm:prSet phldrT="[Text]" custT="1"/>
      <dgm:spPr/>
      <dgm:t>
        <a:bodyPr/>
        <a:lstStyle/>
        <a:p>
          <a:pPr rtl="0">
            <a:lnSpc>
              <a:spcPct val="100000"/>
            </a:lnSpc>
          </a:pPr>
          <a:r>
            <a:rPr lang="en-US" sz="2000"/>
            <a:t>All vendors will be required to participate during the parallel submission year</a:t>
          </a:r>
          <a:r>
            <a:rPr lang="en-US" sz="2000">
              <a:latin typeface="Calibri Light" panose="020F0302020204030204"/>
            </a:rPr>
            <a:t>. </a:t>
          </a:r>
          <a:endParaRPr lang="en-US" sz="2000"/>
        </a:p>
      </dgm:t>
    </dgm:pt>
    <dgm:pt modelId="{3C6588C5-07B0-40D3-B760-8BC869E6D471}" type="parTrans" cxnId="{E351C18C-C71B-49B7-BA90-F08B55718222}">
      <dgm:prSet/>
      <dgm:spPr/>
      <dgm:t>
        <a:bodyPr/>
        <a:lstStyle/>
        <a:p>
          <a:endParaRPr lang="en-US"/>
        </a:p>
      </dgm:t>
    </dgm:pt>
    <dgm:pt modelId="{3D96F4CA-303D-42EF-A0DE-AE84F9C3E234}" type="sibTrans" cxnId="{E351C18C-C71B-49B7-BA90-F08B55718222}">
      <dgm:prSet/>
      <dgm:spPr/>
      <dgm:t>
        <a:bodyPr/>
        <a:lstStyle/>
        <a:p>
          <a:endParaRPr lang="en-US"/>
        </a:p>
      </dgm:t>
    </dgm:pt>
    <dgm:pt modelId="{96286068-2405-457B-9C0C-BB829DE95A3A}">
      <dgm:prSet phldrT="[Text]" custT="1"/>
      <dgm:spPr>
        <a:solidFill>
          <a:srgbClr val="F48668"/>
        </a:solidFill>
      </dgm:spPr>
      <dgm:t>
        <a:bodyPr/>
        <a:lstStyle/>
        <a:p>
          <a:pPr algn="l"/>
          <a:r>
            <a:rPr lang="en-US" sz="2100"/>
            <a:t>TRAINING &amp; SUPPORT</a:t>
          </a:r>
        </a:p>
      </dgm:t>
    </dgm:pt>
    <dgm:pt modelId="{9DE51569-83DA-40BC-BEE3-C9621AFE8F74}" type="parTrans" cxnId="{1C890370-E78E-4565-A705-A5FD2C0C49FC}">
      <dgm:prSet/>
      <dgm:spPr/>
      <dgm:t>
        <a:bodyPr/>
        <a:lstStyle/>
        <a:p>
          <a:endParaRPr lang="en-US"/>
        </a:p>
      </dgm:t>
    </dgm:pt>
    <dgm:pt modelId="{EA589821-0078-4AE5-AC93-EA71A8D85DB5}" type="sibTrans" cxnId="{1C890370-E78E-4565-A705-A5FD2C0C49FC}">
      <dgm:prSet/>
      <dgm:spPr/>
      <dgm:t>
        <a:bodyPr/>
        <a:lstStyle/>
        <a:p>
          <a:endParaRPr lang="en-US"/>
        </a:p>
      </dgm:t>
    </dgm:pt>
    <dgm:pt modelId="{AEA3AE28-C1FB-4FCA-A79D-22792340226D}">
      <dgm:prSet phldrT="[Text]"/>
      <dgm:spPr/>
      <dgm:t>
        <a:bodyPr/>
        <a:lstStyle/>
        <a:p>
          <a:pPr>
            <a:lnSpc>
              <a:spcPct val="100000"/>
            </a:lnSpc>
          </a:pPr>
          <a:r>
            <a:rPr lang="en-US"/>
            <a:t>  </a:t>
          </a:r>
        </a:p>
      </dgm:t>
    </dgm:pt>
    <dgm:pt modelId="{FDD9381E-5AF5-487E-9143-DFEB0EE82EBA}" type="parTrans" cxnId="{9C176301-CA1B-43F5-98CB-EA34361BFED9}">
      <dgm:prSet/>
      <dgm:spPr/>
      <dgm:t>
        <a:bodyPr/>
        <a:lstStyle/>
        <a:p>
          <a:endParaRPr lang="en-US"/>
        </a:p>
      </dgm:t>
    </dgm:pt>
    <dgm:pt modelId="{F3434BB0-87B0-4FD8-830E-01028ECF79BF}" type="sibTrans" cxnId="{9C176301-CA1B-43F5-98CB-EA34361BFED9}">
      <dgm:prSet/>
      <dgm:spPr/>
      <dgm:t>
        <a:bodyPr/>
        <a:lstStyle/>
        <a:p>
          <a:endParaRPr lang="en-US"/>
        </a:p>
      </dgm:t>
    </dgm:pt>
    <dgm:pt modelId="{6BC9E5D2-6BC1-4405-AF92-C94D685EEA6C}">
      <dgm:prSet phldrT="[Text]" custT="1"/>
      <dgm:spPr/>
      <dgm:t>
        <a:bodyPr/>
        <a:lstStyle/>
        <a:p>
          <a:pPr>
            <a:lnSpc>
              <a:spcPct val="100000"/>
            </a:lnSpc>
          </a:pPr>
          <a:r>
            <a:rPr lang="en-US" sz="2000"/>
            <a:t>Level 1 validation errors will need to be resolved by vendors in timely manner</a:t>
          </a:r>
          <a:r>
            <a:rPr lang="en-US" sz="2000">
              <a:latin typeface="Calibri Light" panose="020F0302020204030204"/>
            </a:rPr>
            <a:t>.</a:t>
          </a:r>
          <a:endParaRPr lang="en-US" sz="2000"/>
        </a:p>
      </dgm:t>
    </dgm:pt>
    <dgm:pt modelId="{EB5438AC-4352-4E0B-9E2B-7822C6077A22}" type="parTrans" cxnId="{EABBDAC4-221A-48BF-ADA4-FB85166A99B3}">
      <dgm:prSet/>
      <dgm:spPr/>
      <dgm:t>
        <a:bodyPr/>
        <a:lstStyle/>
        <a:p>
          <a:endParaRPr lang="en-US"/>
        </a:p>
      </dgm:t>
    </dgm:pt>
    <dgm:pt modelId="{61487B49-51DE-45E0-9920-349DA54A9607}" type="sibTrans" cxnId="{EABBDAC4-221A-48BF-ADA4-FB85166A99B3}">
      <dgm:prSet/>
      <dgm:spPr/>
      <dgm:t>
        <a:bodyPr/>
        <a:lstStyle/>
        <a:p>
          <a:endParaRPr lang="en-US"/>
        </a:p>
      </dgm:t>
    </dgm:pt>
    <dgm:pt modelId="{ACB17AA8-82D6-4726-8270-545628141FEA}">
      <dgm:prSet phldrT="[Text]"/>
      <dgm:spPr/>
      <dgm:t>
        <a:bodyPr/>
        <a:lstStyle/>
        <a:p>
          <a:pPr>
            <a:lnSpc>
              <a:spcPct val="100000"/>
            </a:lnSpc>
          </a:pPr>
          <a:r>
            <a:rPr lang="en-US"/>
            <a:t>  </a:t>
          </a:r>
        </a:p>
      </dgm:t>
    </dgm:pt>
    <dgm:pt modelId="{69C5B527-9C4B-4373-A507-7468263174A6}" type="sibTrans" cxnId="{8903139B-658A-49FD-8F56-4B75D3007D9A}">
      <dgm:prSet/>
      <dgm:spPr/>
      <dgm:t>
        <a:bodyPr/>
        <a:lstStyle/>
        <a:p>
          <a:endParaRPr lang="en-US"/>
        </a:p>
      </dgm:t>
    </dgm:pt>
    <dgm:pt modelId="{CB96BB47-76B1-44D1-B0E5-A052B3C712CB}" type="parTrans" cxnId="{8903139B-658A-49FD-8F56-4B75D3007D9A}">
      <dgm:prSet/>
      <dgm:spPr/>
      <dgm:t>
        <a:bodyPr/>
        <a:lstStyle/>
        <a:p>
          <a:endParaRPr lang="en-US"/>
        </a:p>
      </dgm:t>
    </dgm:pt>
    <dgm:pt modelId="{380BBB8A-4AD9-4140-814D-2750DE7ACF7F}">
      <dgm:prSet phldrT="[Text]"/>
      <dgm:spPr/>
      <dgm:t>
        <a:bodyPr/>
        <a:lstStyle/>
        <a:p>
          <a:pPr>
            <a:lnSpc>
              <a:spcPct val="100000"/>
            </a:lnSpc>
          </a:pPr>
          <a:endParaRPr lang="en-US" sz="1800"/>
        </a:p>
      </dgm:t>
    </dgm:pt>
    <dgm:pt modelId="{F827DB39-5274-486F-BBF5-6E193B1F8770}" type="parTrans" cxnId="{61D38150-CA7B-480A-82E5-E541520D1AC6}">
      <dgm:prSet/>
      <dgm:spPr/>
      <dgm:t>
        <a:bodyPr/>
        <a:lstStyle/>
        <a:p>
          <a:endParaRPr lang="en-US"/>
        </a:p>
      </dgm:t>
    </dgm:pt>
    <dgm:pt modelId="{2D5A03F3-FF83-43DA-84A4-EAB21260B42B}" type="sibTrans" cxnId="{61D38150-CA7B-480A-82E5-E541520D1AC6}">
      <dgm:prSet/>
      <dgm:spPr/>
      <dgm:t>
        <a:bodyPr/>
        <a:lstStyle/>
        <a:p>
          <a:endParaRPr lang="en-US"/>
        </a:p>
      </dgm:t>
    </dgm:pt>
    <dgm:pt modelId="{6A300354-A487-453E-8405-998F675185BE}">
      <dgm:prSet phldrT="[Text]" custT="1"/>
      <dgm:spPr/>
      <dgm:t>
        <a:bodyPr/>
        <a:lstStyle/>
        <a:p>
          <a:pPr>
            <a:lnSpc>
              <a:spcPct val="100000"/>
            </a:lnSpc>
          </a:pPr>
          <a:r>
            <a:rPr lang="en-US" sz="2000"/>
            <a:t>Source systems must be ready and updated prior to TSDS submission due dates</a:t>
          </a:r>
          <a:r>
            <a:rPr lang="en-US" sz="2000">
              <a:latin typeface="Calibri Light" panose="020F0302020204030204"/>
            </a:rPr>
            <a:t>.</a:t>
          </a:r>
          <a:endParaRPr lang="en-US" sz="2000"/>
        </a:p>
      </dgm:t>
    </dgm:pt>
    <dgm:pt modelId="{CA152DC1-D3DC-41FB-8F03-66549D60C56F}" type="parTrans" cxnId="{9BE15494-C7C4-4B48-9325-D42D59772D36}">
      <dgm:prSet/>
      <dgm:spPr/>
      <dgm:t>
        <a:bodyPr/>
        <a:lstStyle/>
        <a:p>
          <a:endParaRPr lang="en-US"/>
        </a:p>
      </dgm:t>
    </dgm:pt>
    <dgm:pt modelId="{CBDD1387-8CF0-4362-9E90-0EA0872ADBC9}" type="sibTrans" cxnId="{9BE15494-C7C4-4B48-9325-D42D59772D36}">
      <dgm:prSet/>
      <dgm:spPr/>
      <dgm:t>
        <a:bodyPr/>
        <a:lstStyle/>
        <a:p>
          <a:endParaRPr lang="en-US"/>
        </a:p>
      </dgm:t>
    </dgm:pt>
    <dgm:pt modelId="{96F7BA63-BAEB-4AC1-9F76-DF4C658E9386}">
      <dgm:prSet phldrT="[Text]" custT="1"/>
      <dgm:spPr/>
      <dgm:t>
        <a:bodyPr/>
        <a:lstStyle/>
        <a:p>
          <a:pPr marL="228600" lvl="1" indent="-228600" algn="l" defTabSz="889000" rtl="0">
            <a:lnSpc>
              <a:spcPct val="100000"/>
            </a:lnSpc>
            <a:spcBef>
              <a:spcPct val="0"/>
            </a:spcBef>
            <a:spcAft>
              <a:spcPct val="15000"/>
            </a:spcAft>
            <a:buChar char="•"/>
          </a:pPr>
          <a:r>
            <a:rPr lang="en-US" sz="2000" kern="1200">
              <a:solidFill>
                <a:prstClr val="black">
                  <a:hueOff val="0"/>
                  <a:satOff val="0"/>
                  <a:lumOff val="0"/>
                  <a:alphaOff val="0"/>
                </a:prstClr>
              </a:solidFill>
              <a:latin typeface="Calibri" panose="020F0502020204030204"/>
              <a:ea typeface="+mn-ea"/>
              <a:cs typeface="+mn-cs"/>
            </a:rPr>
            <a:t>Ensure vendor readiness with parallel testing of comparing XML against API transactions.</a:t>
          </a:r>
        </a:p>
      </dgm:t>
    </dgm:pt>
    <dgm:pt modelId="{B809D2D8-66C2-438A-890B-E5B03E3E0960}" type="parTrans" cxnId="{119B3EA1-B277-4F6E-9C7D-15137BE3FE53}">
      <dgm:prSet/>
      <dgm:spPr/>
      <dgm:t>
        <a:bodyPr/>
        <a:lstStyle/>
        <a:p>
          <a:endParaRPr lang="en-US"/>
        </a:p>
      </dgm:t>
    </dgm:pt>
    <dgm:pt modelId="{97B3776C-C9CE-4DC0-82E5-9B3147FEF2F9}" type="sibTrans" cxnId="{119B3EA1-B277-4F6E-9C7D-15137BE3FE53}">
      <dgm:prSet/>
      <dgm:spPr/>
      <dgm:t>
        <a:bodyPr/>
        <a:lstStyle/>
        <a:p>
          <a:endParaRPr lang="en-US"/>
        </a:p>
      </dgm:t>
    </dgm:pt>
    <dgm:pt modelId="{F558D067-A681-41B8-9CB5-FD8DF562870B}">
      <dgm:prSet phldrT="[Text]" custT="1"/>
      <dgm:spPr/>
      <dgm:t>
        <a:bodyPr/>
        <a:lstStyle/>
        <a:p>
          <a:pPr marL="228600" lvl="1" indent="-228600" algn="l" defTabSz="889000">
            <a:lnSpc>
              <a:spcPct val="100000"/>
            </a:lnSpc>
            <a:spcBef>
              <a:spcPct val="0"/>
            </a:spcBef>
            <a:spcAft>
              <a:spcPct val="15000"/>
            </a:spcAft>
            <a:buChar char="•"/>
          </a:pPr>
          <a:r>
            <a:rPr lang="en-US" sz="2000" kern="1200">
              <a:solidFill>
                <a:prstClr val="black">
                  <a:hueOff val="0"/>
                  <a:satOff val="0"/>
                  <a:lumOff val="0"/>
                  <a:alphaOff val="0"/>
                </a:prstClr>
              </a:solidFill>
              <a:latin typeface="Calibri" panose="020F0502020204030204"/>
              <a:ea typeface="+mn-ea"/>
              <a:cs typeface="+mn-cs"/>
            </a:rPr>
            <a:t>TEA will coordinate with vendors and ESCs to obtain LEA partnership commitments.</a:t>
          </a:r>
        </a:p>
      </dgm:t>
    </dgm:pt>
    <dgm:pt modelId="{C0F56E2D-91FA-4525-8D11-B54C80A41917}" type="parTrans" cxnId="{FD552AE9-5A3A-47D8-B309-B58430AED3EB}">
      <dgm:prSet/>
      <dgm:spPr/>
      <dgm:t>
        <a:bodyPr/>
        <a:lstStyle/>
        <a:p>
          <a:endParaRPr lang="en-US"/>
        </a:p>
      </dgm:t>
    </dgm:pt>
    <dgm:pt modelId="{834891DA-3F57-4AF6-AF95-D8E39AE7686E}" type="sibTrans" cxnId="{FD552AE9-5A3A-47D8-B309-B58430AED3EB}">
      <dgm:prSet/>
      <dgm:spPr/>
      <dgm:t>
        <a:bodyPr/>
        <a:lstStyle/>
        <a:p>
          <a:endParaRPr lang="en-US"/>
        </a:p>
      </dgm:t>
    </dgm:pt>
    <dgm:pt modelId="{F0C47F77-0108-4423-A1B1-8E5CCFB3F77D}">
      <dgm:prSet phldrT="[Text]" custT="1"/>
      <dgm:spPr/>
      <dgm:t>
        <a:bodyPr/>
        <a:lstStyle/>
        <a:p>
          <a:pPr>
            <a:lnSpc>
              <a:spcPct val="100000"/>
            </a:lnSpc>
          </a:pPr>
          <a:r>
            <a:rPr lang="en-US" sz="2000"/>
            <a:t>Participating LEAs may have multiple vendor products (SIS, HR/Finance, ECDS assessment</a:t>
          </a:r>
          <a:r>
            <a:rPr lang="en-US" sz="2000">
              <a:latin typeface="Calibri Light" panose="020F0302020204030204"/>
            </a:rPr>
            <a:t>).</a:t>
          </a:r>
          <a:endParaRPr lang="en-US" sz="2000"/>
        </a:p>
      </dgm:t>
    </dgm:pt>
    <dgm:pt modelId="{9977AE26-4DF5-4F7C-84BB-1081F87028D5}" type="parTrans" cxnId="{FE2028CF-5ACB-46B7-BCD4-F48BF3620139}">
      <dgm:prSet/>
      <dgm:spPr/>
      <dgm:t>
        <a:bodyPr/>
        <a:lstStyle/>
        <a:p>
          <a:endParaRPr lang="en-US"/>
        </a:p>
      </dgm:t>
    </dgm:pt>
    <dgm:pt modelId="{FF23B720-9472-42C0-86A5-D6D56386DFBA}" type="sibTrans" cxnId="{FE2028CF-5ACB-46B7-BCD4-F48BF3620139}">
      <dgm:prSet/>
      <dgm:spPr/>
      <dgm:t>
        <a:bodyPr/>
        <a:lstStyle/>
        <a:p>
          <a:endParaRPr lang="en-US"/>
        </a:p>
      </dgm:t>
    </dgm:pt>
    <dgm:pt modelId="{CDB672B8-80AB-4E4E-BCFD-049BB608EBD2}">
      <dgm:prSet phldrT="[Text]" custT="1"/>
      <dgm:spPr/>
      <dgm:t>
        <a:bodyPr/>
        <a:lstStyle/>
        <a:p>
          <a:pPr>
            <a:lnSpc>
              <a:spcPct val="100000"/>
            </a:lnSpc>
          </a:pPr>
          <a:r>
            <a:rPr lang="en-US" sz="2000"/>
            <a:t>Vendors are expected to provide training and support for their product solution(s</a:t>
          </a:r>
          <a:r>
            <a:rPr lang="en-US" sz="2000">
              <a:latin typeface="Calibri Light" panose="020F0302020204030204"/>
            </a:rPr>
            <a:t>).</a:t>
          </a:r>
          <a:endParaRPr lang="en-US" sz="2000"/>
        </a:p>
      </dgm:t>
    </dgm:pt>
    <dgm:pt modelId="{46BF0FA1-568F-4ABE-BAB4-D0CB928A68AC}" type="parTrans" cxnId="{505020BF-399A-4D71-A047-1B55D6AA1366}">
      <dgm:prSet/>
      <dgm:spPr/>
      <dgm:t>
        <a:bodyPr/>
        <a:lstStyle/>
        <a:p>
          <a:endParaRPr lang="en-US"/>
        </a:p>
      </dgm:t>
    </dgm:pt>
    <dgm:pt modelId="{A00EF6B2-564C-4739-A4AF-16EA8EFF2C92}" type="sibTrans" cxnId="{505020BF-399A-4D71-A047-1B55D6AA1366}">
      <dgm:prSet/>
      <dgm:spPr/>
      <dgm:t>
        <a:bodyPr/>
        <a:lstStyle/>
        <a:p>
          <a:endParaRPr lang="en-US"/>
        </a:p>
      </dgm:t>
    </dgm:pt>
    <dgm:pt modelId="{CD2A3371-794D-45BF-8D60-7E96A3458A98}">
      <dgm:prSet phldrT="[Text]" custT="1"/>
      <dgm:spPr/>
      <dgm:t>
        <a:bodyPr/>
        <a:lstStyle/>
        <a:p>
          <a:pPr rtl="0">
            <a:lnSpc>
              <a:spcPct val="100000"/>
            </a:lnSpc>
          </a:pPr>
          <a:r>
            <a:rPr lang="en-US" sz="2000"/>
            <a:t>LEAs will be responsible for providing key/secret information to vendors</a:t>
          </a:r>
          <a:r>
            <a:rPr lang="en-US" sz="2000">
              <a:latin typeface="Calibri Light" panose="020F0302020204030204"/>
            </a:rPr>
            <a:t>. </a:t>
          </a:r>
          <a:endParaRPr lang="en-US" sz="2000"/>
        </a:p>
      </dgm:t>
    </dgm:pt>
    <dgm:pt modelId="{5E021439-DECE-48B9-90E2-426D0CCE808F}" type="parTrans" cxnId="{7ED185DB-5C12-4D00-80E3-FD1786E2C78D}">
      <dgm:prSet/>
      <dgm:spPr/>
      <dgm:t>
        <a:bodyPr/>
        <a:lstStyle/>
        <a:p>
          <a:endParaRPr lang="en-US"/>
        </a:p>
      </dgm:t>
    </dgm:pt>
    <dgm:pt modelId="{78567AF4-8603-4639-9117-8EEC2ED20250}" type="sibTrans" cxnId="{7ED185DB-5C12-4D00-80E3-FD1786E2C78D}">
      <dgm:prSet/>
      <dgm:spPr/>
      <dgm:t>
        <a:bodyPr/>
        <a:lstStyle/>
        <a:p>
          <a:endParaRPr lang="en-US"/>
        </a:p>
      </dgm:t>
    </dgm:pt>
    <dgm:pt modelId="{02E12613-DEF9-495D-9AF9-45F088D4F06F}">
      <dgm:prSet phldr="0"/>
      <dgm:spPr/>
      <dgm:t>
        <a:bodyPr/>
        <a:lstStyle/>
        <a:p>
          <a:pPr marL="228600" indent="-228600" algn="l" defTabSz="889000" rtl="0">
            <a:lnSpc>
              <a:spcPct val="100000"/>
            </a:lnSpc>
            <a:spcBef>
              <a:spcPct val="0"/>
            </a:spcBef>
            <a:spcAft>
              <a:spcPct val="15000"/>
            </a:spcAft>
          </a:pPr>
          <a:r>
            <a:rPr lang="en-US" sz="2000" kern="1200">
              <a:solidFill>
                <a:prstClr val="black">
                  <a:hueOff val="0"/>
                  <a:satOff val="0"/>
                  <a:lumOff val="0"/>
                  <a:alphaOff val="0"/>
                </a:prstClr>
              </a:solidFill>
              <a:latin typeface="Calibri" panose="020F0502020204030204"/>
              <a:ea typeface="+mn-ea"/>
              <a:cs typeface="+mn-cs"/>
            </a:rPr>
            <a:t>Vendors will publish necessary API transactions in time for all PEIMS and TSDS submissions</a:t>
          </a:r>
          <a:r>
            <a:rPr lang="en-US">
              <a:latin typeface="Calibri"/>
              <a:ea typeface="+mn-ea"/>
              <a:cs typeface="+mn-cs"/>
            </a:rPr>
            <a:t>.</a:t>
          </a:r>
          <a:endParaRPr lang="en-US"/>
        </a:p>
      </dgm:t>
    </dgm:pt>
    <dgm:pt modelId="{E7AF600F-17C9-414F-ADD6-70745624A63B}" type="parTrans" cxnId="{4F96791F-F9F1-4EA8-B1FB-551890A7E43A}">
      <dgm:prSet/>
      <dgm:spPr/>
    </dgm:pt>
    <dgm:pt modelId="{DF607037-99B8-4E43-96CF-A47DFF431E71}" type="sibTrans" cxnId="{4F96791F-F9F1-4EA8-B1FB-551890A7E43A}">
      <dgm:prSet/>
      <dgm:spPr/>
    </dgm:pt>
    <dgm:pt modelId="{3686B3ED-6963-4DE9-A124-CDAA81573A26}" type="pres">
      <dgm:prSet presAssocID="{DC9BF987-3681-4A16-B23F-981FFA557CD4}" presName="Name0" presStyleCnt="0">
        <dgm:presLayoutVars>
          <dgm:chMax/>
          <dgm:chPref val="3"/>
          <dgm:dir/>
          <dgm:animOne val="branch"/>
          <dgm:animLvl val="lvl"/>
        </dgm:presLayoutVars>
      </dgm:prSet>
      <dgm:spPr/>
    </dgm:pt>
    <dgm:pt modelId="{47A53ECF-66E6-4202-BE91-D9427866E61F}" type="pres">
      <dgm:prSet presAssocID="{555B1E7C-CBB7-42AE-A893-8831E993DC0B}" presName="composite" presStyleCnt="0"/>
      <dgm:spPr/>
    </dgm:pt>
    <dgm:pt modelId="{E3D61281-825A-4ECE-8431-50E8AB462F18}" type="pres">
      <dgm:prSet presAssocID="{555B1E7C-CBB7-42AE-A893-8831E993DC0B}" presName="FirstChild" presStyleLbl="revTx" presStyleIdx="0" presStyleCnt="6">
        <dgm:presLayoutVars>
          <dgm:chMax val="0"/>
          <dgm:chPref val="0"/>
          <dgm:bulletEnabled val="1"/>
        </dgm:presLayoutVars>
      </dgm:prSet>
      <dgm:spPr/>
    </dgm:pt>
    <dgm:pt modelId="{B8E23B32-295B-4DDF-85ED-9B2933CA4EB6}" type="pres">
      <dgm:prSet presAssocID="{555B1E7C-CBB7-42AE-A893-8831E993DC0B}" presName="Parent" presStyleLbl="alignNode1" presStyleIdx="0" presStyleCnt="3">
        <dgm:presLayoutVars>
          <dgm:chMax val="3"/>
          <dgm:chPref val="3"/>
          <dgm:bulletEnabled val="1"/>
        </dgm:presLayoutVars>
      </dgm:prSet>
      <dgm:spPr/>
    </dgm:pt>
    <dgm:pt modelId="{EF211440-F275-4583-B7F4-D1534DD8E693}" type="pres">
      <dgm:prSet presAssocID="{555B1E7C-CBB7-42AE-A893-8831E993DC0B}" presName="Accent" presStyleLbl="parChTrans1D1" presStyleIdx="0" presStyleCnt="3"/>
      <dgm:spPr/>
    </dgm:pt>
    <dgm:pt modelId="{EC5DF9EE-8AB9-42B0-9F82-BEB6DDF28D26}" type="pres">
      <dgm:prSet presAssocID="{555B1E7C-CBB7-42AE-A893-8831E993DC0B}" presName="Child" presStyleLbl="revTx" presStyleIdx="1" presStyleCnt="6" custScaleY="133130">
        <dgm:presLayoutVars>
          <dgm:chMax val="0"/>
          <dgm:chPref val="0"/>
          <dgm:bulletEnabled val="1"/>
        </dgm:presLayoutVars>
      </dgm:prSet>
      <dgm:spPr/>
    </dgm:pt>
    <dgm:pt modelId="{7ACDB898-5876-413A-98D1-C726494CD1CB}" type="pres">
      <dgm:prSet presAssocID="{CF3E4579-F473-4B52-8E8C-8CEC2B86332D}" presName="sibTrans" presStyleCnt="0"/>
      <dgm:spPr/>
    </dgm:pt>
    <dgm:pt modelId="{E3ECCD31-4500-45C5-8347-30F7C4C2BEFA}" type="pres">
      <dgm:prSet presAssocID="{42BFC612-4636-4FA1-A80B-6165592D8617}" presName="composite" presStyleCnt="0"/>
      <dgm:spPr/>
    </dgm:pt>
    <dgm:pt modelId="{AEE8CF64-2D88-45F8-BCAC-860D7A630D12}" type="pres">
      <dgm:prSet presAssocID="{42BFC612-4636-4FA1-A80B-6165592D8617}" presName="FirstChild" presStyleLbl="revTx" presStyleIdx="2" presStyleCnt="6">
        <dgm:presLayoutVars>
          <dgm:chMax val="0"/>
          <dgm:chPref val="0"/>
          <dgm:bulletEnabled val="1"/>
        </dgm:presLayoutVars>
      </dgm:prSet>
      <dgm:spPr/>
    </dgm:pt>
    <dgm:pt modelId="{E7ECDBFA-6653-42C1-A1A3-2A51389B6005}" type="pres">
      <dgm:prSet presAssocID="{42BFC612-4636-4FA1-A80B-6165592D8617}" presName="Parent" presStyleLbl="alignNode1" presStyleIdx="1" presStyleCnt="3">
        <dgm:presLayoutVars>
          <dgm:chMax val="3"/>
          <dgm:chPref val="3"/>
          <dgm:bulletEnabled val="1"/>
        </dgm:presLayoutVars>
      </dgm:prSet>
      <dgm:spPr/>
    </dgm:pt>
    <dgm:pt modelId="{3EA9E6E5-305D-4627-B9DF-047B975D2939}" type="pres">
      <dgm:prSet presAssocID="{42BFC612-4636-4FA1-A80B-6165592D8617}" presName="Accent" presStyleLbl="parChTrans1D1" presStyleIdx="1" presStyleCnt="3"/>
      <dgm:spPr/>
    </dgm:pt>
    <dgm:pt modelId="{3132E146-6FD6-4B8D-85BC-0F17BF11EE28}" type="pres">
      <dgm:prSet presAssocID="{42BFC612-4636-4FA1-A80B-6165592D8617}" presName="Child" presStyleLbl="revTx" presStyleIdx="3" presStyleCnt="6" custScaleY="120489">
        <dgm:presLayoutVars>
          <dgm:chMax val="0"/>
          <dgm:chPref val="0"/>
          <dgm:bulletEnabled val="1"/>
        </dgm:presLayoutVars>
      </dgm:prSet>
      <dgm:spPr/>
    </dgm:pt>
    <dgm:pt modelId="{59194E0A-204C-456B-86AB-D7FB15D6945B}" type="pres">
      <dgm:prSet presAssocID="{43553942-B4B7-4CCE-9FA1-73C3A60CF503}" presName="sibTrans" presStyleCnt="0"/>
      <dgm:spPr/>
    </dgm:pt>
    <dgm:pt modelId="{A74E0C3C-A293-41A6-A758-2DDE668F530A}" type="pres">
      <dgm:prSet presAssocID="{96286068-2405-457B-9C0C-BB829DE95A3A}" presName="composite" presStyleCnt="0"/>
      <dgm:spPr/>
    </dgm:pt>
    <dgm:pt modelId="{46407045-E0D2-4F15-BEB1-71DF3F9BB629}" type="pres">
      <dgm:prSet presAssocID="{96286068-2405-457B-9C0C-BB829DE95A3A}" presName="FirstChild" presStyleLbl="revTx" presStyleIdx="4" presStyleCnt="6">
        <dgm:presLayoutVars>
          <dgm:chMax val="0"/>
          <dgm:chPref val="0"/>
          <dgm:bulletEnabled val="1"/>
        </dgm:presLayoutVars>
      </dgm:prSet>
      <dgm:spPr/>
    </dgm:pt>
    <dgm:pt modelId="{503CB015-3EB7-4A96-9B00-0E233D038D50}" type="pres">
      <dgm:prSet presAssocID="{96286068-2405-457B-9C0C-BB829DE95A3A}" presName="Parent" presStyleLbl="alignNode1" presStyleIdx="2" presStyleCnt="3">
        <dgm:presLayoutVars>
          <dgm:chMax val="3"/>
          <dgm:chPref val="3"/>
          <dgm:bulletEnabled val="1"/>
        </dgm:presLayoutVars>
      </dgm:prSet>
      <dgm:spPr/>
    </dgm:pt>
    <dgm:pt modelId="{6B54DD2B-1023-49B6-9ADB-B670722D13DF}" type="pres">
      <dgm:prSet presAssocID="{96286068-2405-457B-9C0C-BB829DE95A3A}" presName="Accent" presStyleLbl="parChTrans1D1" presStyleIdx="2" presStyleCnt="3"/>
      <dgm:spPr/>
    </dgm:pt>
    <dgm:pt modelId="{CF5372AA-77ED-48EF-8979-11D3D152BA4C}" type="pres">
      <dgm:prSet presAssocID="{96286068-2405-457B-9C0C-BB829DE95A3A}" presName="Child" presStyleLbl="revTx" presStyleIdx="5" presStyleCnt="6">
        <dgm:presLayoutVars>
          <dgm:chMax val="0"/>
          <dgm:chPref val="0"/>
          <dgm:bulletEnabled val="1"/>
        </dgm:presLayoutVars>
      </dgm:prSet>
      <dgm:spPr/>
    </dgm:pt>
  </dgm:ptLst>
  <dgm:cxnLst>
    <dgm:cxn modelId="{9C176301-CA1B-43F5-98CB-EA34361BFED9}" srcId="{96286068-2405-457B-9C0C-BB829DE95A3A}" destId="{AEA3AE28-C1FB-4FCA-A79D-22792340226D}" srcOrd="0" destOrd="0" parTransId="{FDD9381E-5AF5-487E-9143-DFEB0EE82EBA}" sibTransId="{F3434BB0-87B0-4FD8-830E-01028ECF79BF}"/>
    <dgm:cxn modelId="{148B4603-E7E2-4971-AFEF-33D343DF91DF}" srcId="{DC9BF987-3681-4A16-B23F-981FFA557CD4}" destId="{555B1E7C-CBB7-42AE-A893-8831E993DC0B}" srcOrd="0" destOrd="0" parTransId="{3F9610D0-9C6C-43D5-A849-F678F56EC939}" sibTransId="{CF3E4579-F473-4B52-8E8C-8CEC2B86332D}"/>
    <dgm:cxn modelId="{D1B0AF0A-A4D2-4762-A63E-67DB618C159F}" type="presOf" srcId="{3CC11C82-3BBD-45FF-9966-585B8D6EDCA4}" destId="{3132E146-6FD6-4B8D-85BC-0F17BF11EE28}" srcOrd="0" destOrd="0" presId="urn:microsoft.com/office/officeart/2011/layout/TabList"/>
    <dgm:cxn modelId="{AB82721B-F335-4EEA-9D29-EAD56B7F56F8}" type="presOf" srcId="{96286068-2405-457B-9C0C-BB829DE95A3A}" destId="{503CB015-3EB7-4A96-9B00-0E233D038D50}" srcOrd="0" destOrd="0" presId="urn:microsoft.com/office/officeart/2011/layout/TabList"/>
    <dgm:cxn modelId="{4F96791F-F9F1-4EA8-B1FB-551890A7E43A}" srcId="{555B1E7C-CBB7-42AE-A893-8831E993DC0B}" destId="{02E12613-DEF9-495D-9AF9-45F088D4F06F}" srcOrd="2" destOrd="0" parTransId="{E7AF600F-17C9-414F-ADD6-70745624A63B}" sibTransId="{DF607037-99B8-4E43-96CF-A47DFF431E71}"/>
    <dgm:cxn modelId="{2AF25B28-A0EA-4938-A45B-E8E3A26C84A2}" type="presOf" srcId="{1B2CDC75-2F73-48C2-85B8-DC825883F6F1}" destId="{E3D61281-825A-4ECE-8431-50E8AB462F18}" srcOrd="0" destOrd="0" presId="urn:microsoft.com/office/officeart/2011/layout/TabList"/>
    <dgm:cxn modelId="{A01D4A68-EA1C-4E1F-9AAD-E70D0CF6A5FE}" type="presOf" srcId="{ACB17AA8-82D6-4726-8270-545628141FEA}" destId="{AEE8CF64-2D88-45F8-BCAC-860D7A630D12}" srcOrd="0" destOrd="0" presId="urn:microsoft.com/office/officeart/2011/layout/TabList"/>
    <dgm:cxn modelId="{D3CD7049-6D37-4BF8-AA2F-E6077C1F31FB}" type="presOf" srcId="{42BFC612-4636-4FA1-A80B-6165592D8617}" destId="{E7ECDBFA-6653-42C1-A1A3-2A51389B6005}" srcOrd="0" destOrd="0" presId="urn:microsoft.com/office/officeart/2011/layout/TabList"/>
    <dgm:cxn modelId="{8E88E86C-F5B4-4705-A42A-5D0F8BE70623}" type="presOf" srcId="{DC9BF987-3681-4A16-B23F-981FFA557CD4}" destId="{3686B3ED-6963-4DE9-A124-CDAA81573A26}" srcOrd="0" destOrd="0" presId="urn:microsoft.com/office/officeart/2011/layout/TabList"/>
    <dgm:cxn modelId="{1C890370-E78E-4565-A705-A5FD2C0C49FC}" srcId="{DC9BF987-3681-4A16-B23F-981FFA557CD4}" destId="{96286068-2405-457B-9C0C-BB829DE95A3A}" srcOrd="2" destOrd="0" parTransId="{9DE51569-83DA-40BC-BEE3-C9621AFE8F74}" sibTransId="{EA589821-0078-4AE5-AC93-EA71A8D85DB5}"/>
    <dgm:cxn modelId="{61D38150-CA7B-480A-82E5-E541520D1AC6}" srcId="{96286068-2405-457B-9C0C-BB829DE95A3A}" destId="{380BBB8A-4AD9-4140-814D-2750DE7ACF7F}" srcOrd="4" destOrd="0" parTransId="{F827DB39-5274-486F-BBF5-6E193B1F8770}" sibTransId="{2D5A03F3-FF83-43DA-84A4-EAB21260B42B}"/>
    <dgm:cxn modelId="{69CEA351-D24E-485A-ADE7-4E90E042DF93}" srcId="{555B1E7C-CBB7-42AE-A893-8831E993DC0B}" destId="{1B2CDC75-2F73-48C2-85B8-DC825883F6F1}" srcOrd="0" destOrd="0" parTransId="{DED7FE44-35E6-4AEA-8FB0-6A62A8D90524}" sibTransId="{D08324DA-DBB3-4F79-AA68-D315540990A2}"/>
    <dgm:cxn modelId="{CA80C55A-05AE-4DAF-BA84-B7F7B68846C4}" type="presOf" srcId="{96F7BA63-BAEB-4AC1-9F76-DF4C658E9386}" destId="{EC5DF9EE-8AB9-42B0-9F82-BEB6DDF28D26}" srcOrd="0" destOrd="0" presId="urn:microsoft.com/office/officeart/2011/layout/TabList"/>
    <dgm:cxn modelId="{77F7BB7C-C86A-47E9-903F-F7BAB29C279C}" type="presOf" srcId="{6A300354-A487-453E-8405-998F675185BE}" destId="{3132E146-6FD6-4B8D-85BC-0F17BF11EE28}" srcOrd="0" destOrd="1" presId="urn:microsoft.com/office/officeart/2011/layout/TabList"/>
    <dgm:cxn modelId="{59320C8B-F349-416F-8325-A20EE3DAED10}" type="presOf" srcId="{380BBB8A-4AD9-4140-814D-2750DE7ACF7F}" destId="{CF5372AA-77ED-48EF-8979-11D3D152BA4C}" srcOrd="0" destOrd="3" presId="urn:microsoft.com/office/officeart/2011/layout/TabList"/>
    <dgm:cxn modelId="{E351C18C-C71B-49B7-BA90-F08B55718222}" srcId="{42BFC612-4636-4FA1-A80B-6165592D8617}" destId="{3CC11C82-3BBD-45FF-9966-585B8D6EDCA4}" srcOrd="1" destOrd="0" parTransId="{3C6588C5-07B0-40D3-B760-8BC869E6D471}" sibTransId="{3D96F4CA-303D-42EF-A0DE-AE84F9C3E234}"/>
    <dgm:cxn modelId="{9BE15494-C7C4-4B48-9325-D42D59772D36}" srcId="{42BFC612-4636-4FA1-A80B-6165592D8617}" destId="{6A300354-A487-453E-8405-998F675185BE}" srcOrd="2" destOrd="0" parTransId="{CA152DC1-D3DC-41FB-8F03-66549D60C56F}" sibTransId="{CBDD1387-8CF0-4362-9E90-0EA0872ADBC9}"/>
    <dgm:cxn modelId="{AACF8496-62AD-4A74-9B6F-9B04A0C77241}" type="presOf" srcId="{F558D067-A681-41B8-9CB5-FD8DF562870B}" destId="{EC5DF9EE-8AB9-42B0-9F82-BEB6DDF28D26}" srcOrd="0" destOrd="2" presId="urn:microsoft.com/office/officeart/2011/layout/TabList"/>
    <dgm:cxn modelId="{84728A98-D2C5-4ADA-BF41-3E3E723E9B2F}" srcId="{DC9BF987-3681-4A16-B23F-981FFA557CD4}" destId="{42BFC612-4636-4FA1-A80B-6165592D8617}" srcOrd="1" destOrd="0" parTransId="{5F572273-618C-455B-8C45-581DA4C38191}" sibTransId="{43553942-B4B7-4CCE-9FA1-73C3A60CF503}"/>
    <dgm:cxn modelId="{8903139B-658A-49FD-8F56-4B75D3007D9A}" srcId="{42BFC612-4636-4FA1-A80B-6165592D8617}" destId="{ACB17AA8-82D6-4726-8270-545628141FEA}" srcOrd="0" destOrd="0" parTransId="{CB96BB47-76B1-44D1-B0E5-A052B3C712CB}" sibTransId="{69C5B527-9C4B-4373-A507-7468263174A6}"/>
    <dgm:cxn modelId="{6F46209D-8CB0-4F48-8AAF-38D0FE6AEE76}" type="presOf" srcId="{CD2A3371-794D-45BF-8D60-7E96A3458A98}" destId="{CF5372AA-77ED-48EF-8979-11D3D152BA4C}" srcOrd="0" destOrd="1" presId="urn:microsoft.com/office/officeart/2011/layout/TabList"/>
    <dgm:cxn modelId="{FAEC689D-3F3C-4ADF-8327-942BA90B9E63}" type="presOf" srcId="{555B1E7C-CBB7-42AE-A893-8831E993DC0B}" destId="{B8E23B32-295B-4DDF-85ED-9B2933CA4EB6}" srcOrd="0" destOrd="0" presId="urn:microsoft.com/office/officeart/2011/layout/TabList"/>
    <dgm:cxn modelId="{729103A0-FAB3-447E-B4A1-9FA30826DE10}" type="presOf" srcId="{CDB672B8-80AB-4E4E-BCFD-049BB608EBD2}" destId="{CF5372AA-77ED-48EF-8979-11D3D152BA4C}" srcOrd="0" destOrd="0" presId="urn:microsoft.com/office/officeart/2011/layout/TabList"/>
    <dgm:cxn modelId="{119B3EA1-B277-4F6E-9C7D-15137BE3FE53}" srcId="{555B1E7C-CBB7-42AE-A893-8831E993DC0B}" destId="{96F7BA63-BAEB-4AC1-9F76-DF4C658E9386}" srcOrd="1" destOrd="0" parTransId="{B809D2D8-66C2-438A-890B-E5B03E3E0960}" sibTransId="{97B3776C-C9CE-4DC0-82E5-9B3147FEF2F9}"/>
    <dgm:cxn modelId="{246465A8-CB0C-4822-B729-32A4A3BDEFBE}" type="presOf" srcId="{6BC9E5D2-6BC1-4405-AF92-C94D685EEA6C}" destId="{CF5372AA-77ED-48EF-8979-11D3D152BA4C}" srcOrd="0" destOrd="2" presId="urn:microsoft.com/office/officeart/2011/layout/TabList"/>
    <dgm:cxn modelId="{505020BF-399A-4D71-A047-1B55D6AA1366}" srcId="{96286068-2405-457B-9C0C-BB829DE95A3A}" destId="{CDB672B8-80AB-4E4E-BCFD-049BB608EBD2}" srcOrd="1" destOrd="0" parTransId="{46BF0FA1-568F-4ABE-BAB4-D0CB928A68AC}" sibTransId="{A00EF6B2-564C-4739-A4AF-16EA8EFF2C92}"/>
    <dgm:cxn modelId="{EABBDAC4-221A-48BF-ADA4-FB85166A99B3}" srcId="{96286068-2405-457B-9C0C-BB829DE95A3A}" destId="{6BC9E5D2-6BC1-4405-AF92-C94D685EEA6C}" srcOrd="3" destOrd="0" parTransId="{EB5438AC-4352-4E0B-9E2B-7822C6077A22}" sibTransId="{61487B49-51DE-45E0-9920-349DA54A9607}"/>
    <dgm:cxn modelId="{FE2028CF-5ACB-46B7-BCD4-F48BF3620139}" srcId="{42BFC612-4636-4FA1-A80B-6165592D8617}" destId="{F0C47F77-0108-4423-A1B1-8E5CCFB3F77D}" srcOrd="3" destOrd="0" parTransId="{9977AE26-4DF5-4F7C-84BB-1081F87028D5}" sibTransId="{FF23B720-9472-42C0-86A5-D6D56386DFBA}"/>
    <dgm:cxn modelId="{FF154CCF-6DD6-4EA8-8B51-482463108CB7}" type="presOf" srcId="{F0C47F77-0108-4423-A1B1-8E5CCFB3F77D}" destId="{3132E146-6FD6-4B8D-85BC-0F17BF11EE28}" srcOrd="0" destOrd="2" presId="urn:microsoft.com/office/officeart/2011/layout/TabList"/>
    <dgm:cxn modelId="{7ED185DB-5C12-4D00-80E3-FD1786E2C78D}" srcId="{96286068-2405-457B-9C0C-BB829DE95A3A}" destId="{CD2A3371-794D-45BF-8D60-7E96A3458A98}" srcOrd="2" destOrd="0" parTransId="{5E021439-DECE-48B9-90E2-426D0CCE808F}" sibTransId="{78567AF4-8603-4639-9117-8EEC2ED20250}"/>
    <dgm:cxn modelId="{FD552AE9-5A3A-47D8-B309-B58430AED3EB}" srcId="{555B1E7C-CBB7-42AE-A893-8831E993DC0B}" destId="{F558D067-A681-41B8-9CB5-FD8DF562870B}" srcOrd="3" destOrd="0" parTransId="{C0F56E2D-91FA-4525-8D11-B54C80A41917}" sibTransId="{834891DA-3F57-4AF6-AF95-D8E39AE7686E}"/>
    <dgm:cxn modelId="{C19646F2-63A4-48B2-AFE6-ACE7EA51F6C5}" type="presOf" srcId="{AEA3AE28-C1FB-4FCA-A79D-22792340226D}" destId="{46407045-E0D2-4F15-BEB1-71DF3F9BB629}" srcOrd="0" destOrd="0" presId="urn:microsoft.com/office/officeart/2011/layout/TabList"/>
    <dgm:cxn modelId="{B564D5F3-1DB7-412E-9B4E-42FA9A467990}" type="presOf" srcId="{02E12613-DEF9-495D-9AF9-45F088D4F06F}" destId="{EC5DF9EE-8AB9-42B0-9F82-BEB6DDF28D26}" srcOrd="0" destOrd="1" presId="urn:microsoft.com/office/officeart/2011/layout/TabList"/>
    <dgm:cxn modelId="{E65B36D9-D855-4C70-ACDE-003E33435EDB}" type="presParOf" srcId="{3686B3ED-6963-4DE9-A124-CDAA81573A26}" destId="{47A53ECF-66E6-4202-BE91-D9427866E61F}" srcOrd="0" destOrd="0" presId="urn:microsoft.com/office/officeart/2011/layout/TabList"/>
    <dgm:cxn modelId="{4BB3924D-8261-4CAA-A270-10F6C2F88E0D}" type="presParOf" srcId="{47A53ECF-66E6-4202-BE91-D9427866E61F}" destId="{E3D61281-825A-4ECE-8431-50E8AB462F18}" srcOrd="0" destOrd="0" presId="urn:microsoft.com/office/officeart/2011/layout/TabList"/>
    <dgm:cxn modelId="{DE0CB894-9156-4445-BDF3-2B878E523A56}" type="presParOf" srcId="{47A53ECF-66E6-4202-BE91-D9427866E61F}" destId="{B8E23B32-295B-4DDF-85ED-9B2933CA4EB6}" srcOrd="1" destOrd="0" presId="urn:microsoft.com/office/officeart/2011/layout/TabList"/>
    <dgm:cxn modelId="{9262AF24-4174-43C9-A25D-3EA418AACF89}" type="presParOf" srcId="{47A53ECF-66E6-4202-BE91-D9427866E61F}" destId="{EF211440-F275-4583-B7F4-D1534DD8E693}" srcOrd="2" destOrd="0" presId="urn:microsoft.com/office/officeart/2011/layout/TabList"/>
    <dgm:cxn modelId="{9199C98E-8D24-458D-A1D4-F79339BCC185}" type="presParOf" srcId="{3686B3ED-6963-4DE9-A124-CDAA81573A26}" destId="{EC5DF9EE-8AB9-42B0-9F82-BEB6DDF28D26}" srcOrd="1" destOrd="0" presId="urn:microsoft.com/office/officeart/2011/layout/TabList"/>
    <dgm:cxn modelId="{C2CE7B74-4649-40A5-A2FD-5769A9346802}" type="presParOf" srcId="{3686B3ED-6963-4DE9-A124-CDAA81573A26}" destId="{7ACDB898-5876-413A-98D1-C726494CD1CB}" srcOrd="2" destOrd="0" presId="urn:microsoft.com/office/officeart/2011/layout/TabList"/>
    <dgm:cxn modelId="{1BBDEB2F-DACA-462F-B523-BEDE9F2D05F3}" type="presParOf" srcId="{3686B3ED-6963-4DE9-A124-CDAA81573A26}" destId="{E3ECCD31-4500-45C5-8347-30F7C4C2BEFA}" srcOrd="3" destOrd="0" presId="urn:microsoft.com/office/officeart/2011/layout/TabList"/>
    <dgm:cxn modelId="{D4A6D2F2-3C58-404A-B3E1-B7340F72495D}" type="presParOf" srcId="{E3ECCD31-4500-45C5-8347-30F7C4C2BEFA}" destId="{AEE8CF64-2D88-45F8-BCAC-860D7A630D12}" srcOrd="0" destOrd="0" presId="urn:microsoft.com/office/officeart/2011/layout/TabList"/>
    <dgm:cxn modelId="{12040969-1E6F-471B-AE75-F33338EFFC05}" type="presParOf" srcId="{E3ECCD31-4500-45C5-8347-30F7C4C2BEFA}" destId="{E7ECDBFA-6653-42C1-A1A3-2A51389B6005}" srcOrd="1" destOrd="0" presId="urn:microsoft.com/office/officeart/2011/layout/TabList"/>
    <dgm:cxn modelId="{5BFF2F39-4D77-4FC3-8C65-7CCAFD5F6D0E}" type="presParOf" srcId="{E3ECCD31-4500-45C5-8347-30F7C4C2BEFA}" destId="{3EA9E6E5-305D-4627-B9DF-047B975D2939}" srcOrd="2" destOrd="0" presId="urn:microsoft.com/office/officeart/2011/layout/TabList"/>
    <dgm:cxn modelId="{B329FB02-4500-48AA-8B14-B8B09DD8CC64}" type="presParOf" srcId="{3686B3ED-6963-4DE9-A124-CDAA81573A26}" destId="{3132E146-6FD6-4B8D-85BC-0F17BF11EE28}" srcOrd="4" destOrd="0" presId="urn:microsoft.com/office/officeart/2011/layout/TabList"/>
    <dgm:cxn modelId="{7EB4EEC3-5672-40AF-BDA0-780E0780EF34}" type="presParOf" srcId="{3686B3ED-6963-4DE9-A124-CDAA81573A26}" destId="{59194E0A-204C-456B-86AB-D7FB15D6945B}" srcOrd="5" destOrd="0" presId="urn:microsoft.com/office/officeart/2011/layout/TabList"/>
    <dgm:cxn modelId="{286B368B-7889-4A1D-8967-4A9ADB04F7DE}" type="presParOf" srcId="{3686B3ED-6963-4DE9-A124-CDAA81573A26}" destId="{A74E0C3C-A293-41A6-A758-2DDE668F530A}" srcOrd="6" destOrd="0" presId="urn:microsoft.com/office/officeart/2011/layout/TabList"/>
    <dgm:cxn modelId="{549213CB-4364-46F5-8B34-4E0A802BA92D}" type="presParOf" srcId="{A74E0C3C-A293-41A6-A758-2DDE668F530A}" destId="{46407045-E0D2-4F15-BEB1-71DF3F9BB629}" srcOrd="0" destOrd="0" presId="urn:microsoft.com/office/officeart/2011/layout/TabList"/>
    <dgm:cxn modelId="{FB161CE4-6A98-4716-81CF-9B6E7688A71B}" type="presParOf" srcId="{A74E0C3C-A293-41A6-A758-2DDE668F530A}" destId="{503CB015-3EB7-4A96-9B00-0E233D038D50}" srcOrd="1" destOrd="0" presId="urn:microsoft.com/office/officeart/2011/layout/TabList"/>
    <dgm:cxn modelId="{BF4AAFDD-CA8E-4D73-BC2B-D380A0F9E09C}" type="presParOf" srcId="{A74E0C3C-A293-41A6-A758-2DDE668F530A}" destId="{6B54DD2B-1023-49B6-9ADB-B670722D13DF}" srcOrd="2" destOrd="0" presId="urn:microsoft.com/office/officeart/2011/layout/TabList"/>
    <dgm:cxn modelId="{EEFFADBC-94CF-4C98-9FE7-CA18019912C3}" type="presParOf" srcId="{3686B3ED-6963-4DE9-A124-CDAA81573A26}" destId="{CF5372AA-77ED-48EF-8979-11D3D152BA4C}" srcOrd="7"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ECC89EE-8867-4105-B6C8-9E7E3DB1E985}"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BA0466D5-FC43-4301-97F3-73AE9A86FD11}">
      <dgm:prSet phldrT="[Text]"/>
      <dgm:spPr/>
      <dgm:t>
        <a:bodyPr/>
        <a:lstStyle/>
        <a:p>
          <a:r>
            <a:rPr lang="en-US" b="1"/>
            <a:t>VENDORS </a:t>
          </a:r>
        </a:p>
      </dgm:t>
    </dgm:pt>
    <dgm:pt modelId="{5346D764-889B-431C-868D-32904F47D014}" type="parTrans" cxnId="{558CF829-EBFB-4283-8CCE-2F9F1D6E286B}">
      <dgm:prSet/>
      <dgm:spPr/>
      <dgm:t>
        <a:bodyPr/>
        <a:lstStyle/>
        <a:p>
          <a:endParaRPr lang="en-US"/>
        </a:p>
      </dgm:t>
    </dgm:pt>
    <dgm:pt modelId="{718619B4-EEB0-45D0-A1CD-627816B89175}" type="sibTrans" cxnId="{558CF829-EBFB-4283-8CCE-2F9F1D6E286B}">
      <dgm:prSet/>
      <dgm:spPr/>
      <dgm:t>
        <a:bodyPr/>
        <a:lstStyle/>
        <a:p>
          <a:endParaRPr lang="en-US"/>
        </a:p>
      </dgm:t>
    </dgm:pt>
    <dgm:pt modelId="{C9B1A845-C4F2-4C85-85C8-CDF4F4B0E2E7}">
      <dgm:prSet phldrT="[Text]"/>
      <dgm:spPr/>
      <dgm:t>
        <a:bodyPr/>
        <a:lstStyle/>
        <a:p>
          <a:r>
            <a:rPr lang="en-US"/>
            <a:t>Provide product solutions, training, and support to LEAs</a:t>
          </a:r>
        </a:p>
      </dgm:t>
    </dgm:pt>
    <dgm:pt modelId="{16CB0ABE-4E98-47B8-BA00-F3E005F7A7C8}" type="parTrans" cxnId="{6CCDAD7B-F59A-46A1-9124-2525EAD7C54E}">
      <dgm:prSet/>
      <dgm:spPr/>
      <dgm:t>
        <a:bodyPr/>
        <a:lstStyle/>
        <a:p>
          <a:endParaRPr lang="en-US"/>
        </a:p>
      </dgm:t>
    </dgm:pt>
    <dgm:pt modelId="{E990182A-868C-4D0C-B6E5-5CA6D6039664}" type="sibTrans" cxnId="{6CCDAD7B-F59A-46A1-9124-2525EAD7C54E}">
      <dgm:prSet/>
      <dgm:spPr/>
      <dgm:t>
        <a:bodyPr/>
        <a:lstStyle/>
        <a:p>
          <a:endParaRPr lang="en-US"/>
        </a:p>
      </dgm:t>
    </dgm:pt>
    <dgm:pt modelId="{BA59F96B-C09E-46E2-B8F4-84E711B11CAF}">
      <dgm:prSet phldrT="[Text]"/>
      <dgm:spPr/>
      <dgm:t>
        <a:bodyPr/>
        <a:lstStyle/>
        <a:p>
          <a:r>
            <a:rPr lang="en-US"/>
            <a:t>Obtain Ed-Fi certification and TSDS Compatible Designation</a:t>
          </a:r>
        </a:p>
      </dgm:t>
    </dgm:pt>
    <dgm:pt modelId="{C853D159-1CDE-4D10-AEC5-2779C246C6DF}" type="parTrans" cxnId="{0174BE2C-A5B1-43DC-A45F-1FEB97ACCB62}">
      <dgm:prSet/>
      <dgm:spPr/>
      <dgm:t>
        <a:bodyPr/>
        <a:lstStyle/>
        <a:p>
          <a:endParaRPr lang="en-US"/>
        </a:p>
      </dgm:t>
    </dgm:pt>
    <dgm:pt modelId="{07BBB6FC-9FBD-42EB-B21F-5AF556DB0D5B}" type="sibTrans" cxnId="{0174BE2C-A5B1-43DC-A45F-1FEB97ACCB62}">
      <dgm:prSet/>
      <dgm:spPr/>
      <dgm:t>
        <a:bodyPr/>
        <a:lstStyle/>
        <a:p>
          <a:endParaRPr lang="en-US"/>
        </a:p>
      </dgm:t>
    </dgm:pt>
    <dgm:pt modelId="{3F9822E3-4CA0-41A8-BDB9-DD7EE3B839A2}">
      <dgm:prSet phldrT="[Text]"/>
      <dgm:spPr/>
      <dgm:t>
        <a:bodyPr/>
        <a:lstStyle/>
        <a:p>
          <a:r>
            <a:rPr lang="en-US" b="1"/>
            <a:t>LEAs</a:t>
          </a:r>
        </a:p>
      </dgm:t>
    </dgm:pt>
    <dgm:pt modelId="{DDFF88F8-CF7B-4157-860F-4F36DFF7444A}" type="parTrans" cxnId="{C7817DD4-CDC3-41E2-8E3F-136AB443874B}">
      <dgm:prSet/>
      <dgm:spPr/>
      <dgm:t>
        <a:bodyPr/>
        <a:lstStyle/>
        <a:p>
          <a:endParaRPr lang="en-US"/>
        </a:p>
      </dgm:t>
    </dgm:pt>
    <dgm:pt modelId="{28C28EAC-621B-4C9B-8EA7-F7FE8A9D9B40}" type="sibTrans" cxnId="{C7817DD4-CDC3-41E2-8E3F-136AB443874B}">
      <dgm:prSet/>
      <dgm:spPr/>
      <dgm:t>
        <a:bodyPr/>
        <a:lstStyle/>
        <a:p>
          <a:endParaRPr lang="en-US"/>
        </a:p>
      </dgm:t>
    </dgm:pt>
    <dgm:pt modelId="{A6698CDF-BE62-4999-9B54-0B622A61678C}">
      <dgm:prSet phldrT="[Text]"/>
      <dgm:spPr/>
      <dgm:t>
        <a:bodyPr/>
        <a:lstStyle/>
        <a:p>
          <a:r>
            <a:rPr lang="en-US"/>
            <a:t>Compare API transactions against official XML submissions</a:t>
          </a:r>
        </a:p>
      </dgm:t>
    </dgm:pt>
    <dgm:pt modelId="{0149B2A7-D271-42D6-8D87-C660AD9965AB}" type="parTrans" cxnId="{C2BC822C-8F48-4F84-B552-0151B5AA21DD}">
      <dgm:prSet/>
      <dgm:spPr/>
      <dgm:t>
        <a:bodyPr/>
        <a:lstStyle/>
        <a:p>
          <a:endParaRPr lang="en-US"/>
        </a:p>
      </dgm:t>
    </dgm:pt>
    <dgm:pt modelId="{DA2A6F15-847B-46AF-94C8-05842206D6E1}" type="sibTrans" cxnId="{C2BC822C-8F48-4F84-B552-0151B5AA21DD}">
      <dgm:prSet/>
      <dgm:spPr/>
      <dgm:t>
        <a:bodyPr/>
        <a:lstStyle/>
        <a:p>
          <a:endParaRPr lang="en-US"/>
        </a:p>
      </dgm:t>
    </dgm:pt>
    <dgm:pt modelId="{5C24ADC5-0656-475D-9CDB-B833B94AD4A9}">
      <dgm:prSet phldrT="[Text]"/>
      <dgm:spPr/>
      <dgm:t>
        <a:bodyPr/>
        <a:lstStyle/>
        <a:p>
          <a:r>
            <a:rPr lang="en-US"/>
            <a:t>Identify and report data discrepancies and system issues</a:t>
          </a:r>
        </a:p>
      </dgm:t>
    </dgm:pt>
    <dgm:pt modelId="{8750ED2D-218F-49A3-8B6D-A8ADED7D861F}" type="parTrans" cxnId="{9F5CA4D5-E7E0-4AD3-B427-2B0E49009046}">
      <dgm:prSet/>
      <dgm:spPr/>
      <dgm:t>
        <a:bodyPr/>
        <a:lstStyle/>
        <a:p>
          <a:endParaRPr lang="en-US"/>
        </a:p>
      </dgm:t>
    </dgm:pt>
    <dgm:pt modelId="{56EE6A1D-169C-4384-8A97-CE2F749A081C}" type="sibTrans" cxnId="{9F5CA4D5-E7E0-4AD3-B427-2B0E49009046}">
      <dgm:prSet/>
      <dgm:spPr/>
      <dgm:t>
        <a:bodyPr/>
        <a:lstStyle/>
        <a:p>
          <a:endParaRPr lang="en-US"/>
        </a:p>
      </dgm:t>
    </dgm:pt>
    <dgm:pt modelId="{06A96C11-6132-4A53-979F-8948D9662F23}">
      <dgm:prSet phldrT="[Text]"/>
      <dgm:spPr/>
      <dgm:t>
        <a:bodyPr/>
        <a:lstStyle/>
        <a:p>
          <a:r>
            <a:rPr lang="en-US" b="1"/>
            <a:t>ESCs</a:t>
          </a:r>
        </a:p>
      </dgm:t>
    </dgm:pt>
    <dgm:pt modelId="{59FD956E-8540-47D2-976A-4E460028359D}" type="parTrans" cxnId="{9EBB0F31-781D-4C68-BC18-EEC6E164CC0F}">
      <dgm:prSet/>
      <dgm:spPr/>
      <dgm:t>
        <a:bodyPr/>
        <a:lstStyle/>
        <a:p>
          <a:endParaRPr lang="en-US"/>
        </a:p>
      </dgm:t>
    </dgm:pt>
    <dgm:pt modelId="{50E4BB7E-8A69-449A-AE94-5653B689172C}" type="sibTrans" cxnId="{9EBB0F31-781D-4C68-BC18-EEC6E164CC0F}">
      <dgm:prSet/>
      <dgm:spPr/>
      <dgm:t>
        <a:bodyPr/>
        <a:lstStyle/>
        <a:p>
          <a:endParaRPr lang="en-US"/>
        </a:p>
      </dgm:t>
    </dgm:pt>
    <dgm:pt modelId="{F29F8AA8-84B6-43F6-BF2D-722F7A216870}">
      <dgm:prSet phldrT="[Text]"/>
      <dgm:spPr/>
      <dgm:t>
        <a:bodyPr/>
        <a:lstStyle/>
        <a:p>
          <a:r>
            <a:rPr lang="en-US"/>
            <a:t>Train participating LEAs prior to and during parallel submission </a:t>
          </a:r>
        </a:p>
      </dgm:t>
    </dgm:pt>
    <dgm:pt modelId="{7ABAE315-46C2-4686-9C20-395CEE00FC51}" type="parTrans" cxnId="{EEF1B101-81E7-4DD3-B208-54E09C8137DC}">
      <dgm:prSet/>
      <dgm:spPr/>
      <dgm:t>
        <a:bodyPr/>
        <a:lstStyle/>
        <a:p>
          <a:endParaRPr lang="en-US"/>
        </a:p>
      </dgm:t>
    </dgm:pt>
    <dgm:pt modelId="{2DAE516E-BFD2-404F-968E-A5EDF095FF7C}" type="sibTrans" cxnId="{EEF1B101-81E7-4DD3-B208-54E09C8137DC}">
      <dgm:prSet/>
      <dgm:spPr/>
      <dgm:t>
        <a:bodyPr/>
        <a:lstStyle/>
        <a:p>
          <a:endParaRPr lang="en-US"/>
        </a:p>
      </dgm:t>
    </dgm:pt>
    <dgm:pt modelId="{D5ECB721-7DDB-43BA-8E2F-8627B8C6F02A}">
      <dgm:prSet phldrT="[Text]"/>
      <dgm:spPr/>
      <dgm:t>
        <a:bodyPr/>
        <a:lstStyle/>
        <a:p>
          <a:r>
            <a:rPr lang="en-US"/>
            <a:t>Actively support participating LEAs through TIMS </a:t>
          </a:r>
        </a:p>
      </dgm:t>
    </dgm:pt>
    <dgm:pt modelId="{6E3786E1-947E-4F66-A661-DCF20B198E55}" type="parTrans" cxnId="{5FE5948E-CBEB-4669-9B97-F9A19A1306D6}">
      <dgm:prSet/>
      <dgm:spPr/>
      <dgm:t>
        <a:bodyPr/>
        <a:lstStyle/>
        <a:p>
          <a:endParaRPr lang="en-US"/>
        </a:p>
      </dgm:t>
    </dgm:pt>
    <dgm:pt modelId="{F8814386-7EEB-480C-A595-E2678D7BA69A}" type="sibTrans" cxnId="{5FE5948E-CBEB-4669-9B97-F9A19A1306D6}">
      <dgm:prSet/>
      <dgm:spPr/>
      <dgm:t>
        <a:bodyPr/>
        <a:lstStyle/>
        <a:p>
          <a:endParaRPr lang="en-US"/>
        </a:p>
      </dgm:t>
    </dgm:pt>
    <dgm:pt modelId="{B6B363F0-9D5B-4ECF-A901-9299B7624370}" type="pres">
      <dgm:prSet presAssocID="{3ECC89EE-8867-4105-B6C8-9E7E3DB1E985}" presName="linear" presStyleCnt="0">
        <dgm:presLayoutVars>
          <dgm:dir/>
          <dgm:resizeHandles val="exact"/>
        </dgm:presLayoutVars>
      </dgm:prSet>
      <dgm:spPr/>
    </dgm:pt>
    <dgm:pt modelId="{84F95698-7A70-49F5-840C-015D8FA833EA}" type="pres">
      <dgm:prSet presAssocID="{BA0466D5-FC43-4301-97F3-73AE9A86FD11}" presName="comp" presStyleCnt="0"/>
      <dgm:spPr/>
    </dgm:pt>
    <dgm:pt modelId="{30DF58FC-58D4-43D7-A7B3-D745C64B976F}" type="pres">
      <dgm:prSet presAssocID="{BA0466D5-FC43-4301-97F3-73AE9A86FD11}" presName="box" presStyleLbl="node1" presStyleIdx="0" presStyleCnt="3"/>
      <dgm:spPr/>
    </dgm:pt>
    <dgm:pt modelId="{DF0517AE-8196-4038-B391-98EB2A934C8E}" type="pres">
      <dgm:prSet presAssocID="{BA0466D5-FC43-4301-97F3-73AE9A86FD11}" presName="img" presStyleLbl="fgImgPlace1" presStyleIdx="0" presStyleCnt="3" custScaleX="84945" custScaleY="77401"/>
      <dgm:spPr>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8982" t="-18447" r="8982" b="-18447"/>
          </a:stretch>
        </a:blipFill>
        <a:ln>
          <a:noFill/>
        </a:ln>
      </dgm:spPr>
      <dgm:extLst>
        <a:ext uri="{E40237B7-FDA0-4F09-8148-C483321AD2D9}">
          <dgm14:cNvPr xmlns:dgm14="http://schemas.microsoft.com/office/drawing/2010/diagram" id="0" name="" descr="Web design with solid fill"/>
        </a:ext>
      </dgm:extLst>
    </dgm:pt>
    <dgm:pt modelId="{F9E278EC-AFC3-4916-8A4C-CF05FBD5EA01}" type="pres">
      <dgm:prSet presAssocID="{BA0466D5-FC43-4301-97F3-73AE9A86FD11}" presName="text" presStyleLbl="node1" presStyleIdx="0" presStyleCnt="3">
        <dgm:presLayoutVars>
          <dgm:bulletEnabled val="1"/>
        </dgm:presLayoutVars>
      </dgm:prSet>
      <dgm:spPr/>
    </dgm:pt>
    <dgm:pt modelId="{8902FC2C-FBF3-4DAF-84BA-2C39D2E9DF63}" type="pres">
      <dgm:prSet presAssocID="{718619B4-EEB0-45D0-A1CD-627816B89175}" presName="spacer" presStyleCnt="0"/>
      <dgm:spPr/>
    </dgm:pt>
    <dgm:pt modelId="{DA01BF82-BC1B-46CA-B72A-BF62308588E3}" type="pres">
      <dgm:prSet presAssocID="{3F9822E3-4CA0-41A8-BDB9-DD7EE3B839A2}" presName="comp" presStyleCnt="0"/>
      <dgm:spPr/>
    </dgm:pt>
    <dgm:pt modelId="{957687C4-19B2-4AC9-989B-8FDB2211C091}" type="pres">
      <dgm:prSet presAssocID="{3F9822E3-4CA0-41A8-BDB9-DD7EE3B839A2}" presName="box" presStyleLbl="node1" presStyleIdx="1" presStyleCnt="3"/>
      <dgm:spPr/>
    </dgm:pt>
    <dgm:pt modelId="{E235DA03-5B14-4614-9DD3-5491CCD80FF2}" type="pres">
      <dgm:prSet presAssocID="{3F9822E3-4CA0-41A8-BDB9-DD7EE3B839A2}" presName="img" presStyleLbl="fgImgPlace1" presStyleIdx="1" presStyleCnt="3" custScaleX="84945" custScaleY="77401"/>
      <dgm:spPr>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8982" t="-9223" r="8982" b="-9223"/>
          </a:stretch>
        </a:blipFill>
        <a:ln>
          <a:noFill/>
        </a:ln>
      </dgm:spPr>
      <dgm:extLst>
        <a:ext uri="{E40237B7-FDA0-4F09-8148-C483321AD2D9}">
          <dgm14:cNvPr xmlns:dgm14="http://schemas.microsoft.com/office/drawing/2010/diagram" id="0" name="" descr="Schoolhouse with solid fill"/>
        </a:ext>
      </dgm:extLst>
    </dgm:pt>
    <dgm:pt modelId="{E4C90632-77D5-4B9E-B1D6-93208FC6CBBA}" type="pres">
      <dgm:prSet presAssocID="{3F9822E3-4CA0-41A8-BDB9-DD7EE3B839A2}" presName="text" presStyleLbl="node1" presStyleIdx="1" presStyleCnt="3">
        <dgm:presLayoutVars>
          <dgm:bulletEnabled val="1"/>
        </dgm:presLayoutVars>
      </dgm:prSet>
      <dgm:spPr/>
    </dgm:pt>
    <dgm:pt modelId="{114A7A1C-E302-4A59-8D24-A59674B954D5}" type="pres">
      <dgm:prSet presAssocID="{28C28EAC-621B-4C9B-8EA7-F7FE8A9D9B40}" presName="spacer" presStyleCnt="0"/>
      <dgm:spPr/>
    </dgm:pt>
    <dgm:pt modelId="{018A50BA-9A3E-4EA5-B0D9-B673AD7D1C53}" type="pres">
      <dgm:prSet presAssocID="{06A96C11-6132-4A53-979F-8948D9662F23}" presName="comp" presStyleCnt="0"/>
      <dgm:spPr/>
    </dgm:pt>
    <dgm:pt modelId="{1E6405CC-3D2F-47E7-BE57-B3EAB5F055EE}" type="pres">
      <dgm:prSet presAssocID="{06A96C11-6132-4A53-979F-8948D9662F23}" presName="box" presStyleLbl="node1" presStyleIdx="2" presStyleCnt="3"/>
      <dgm:spPr/>
    </dgm:pt>
    <dgm:pt modelId="{B55CB191-42B8-4D97-A049-EF759CE3D0AE}" type="pres">
      <dgm:prSet presAssocID="{06A96C11-6132-4A53-979F-8948D9662F23}" presName="img" presStyleLbl="fgImgPlace1" presStyleIdx="2" presStyleCnt="3" custScaleX="84945" custScaleY="77401"/>
      <dgm:spPr>
        <a:blipFill dpi="0" rotWithShape="1">
          <a:blip xmlns:r="http://schemas.openxmlformats.org/officeDocument/2006/relationships" r:embed="rId5">
            <a:extLst>
              <a:ext uri="{96DAC541-7B7A-43D3-8B79-37D633B846F1}">
                <asvg:svgBlip xmlns:asvg="http://schemas.microsoft.com/office/drawing/2016/SVG/main" r:embed="rId6"/>
              </a:ext>
            </a:extLst>
          </a:blip>
          <a:srcRect/>
          <a:stretch>
            <a:fillRect l="8982" t="-9223" r="8982" b="-9223"/>
          </a:stretch>
        </a:blipFill>
        <a:ln>
          <a:noFill/>
        </a:ln>
      </dgm:spPr>
      <dgm:extLst>
        <a:ext uri="{E40237B7-FDA0-4F09-8148-C483321AD2D9}">
          <dgm14:cNvPr xmlns:dgm14="http://schemas.microsoft.com/office/drawing/2010/diagram" id="0" name="" descr="Classroom with solid fill"/>
        </a:ext>
      </dgm:extLst>
    </dgm:pt>
    <dgm:pt modelId="{ABD3C1C5-6D6F-44FA-8FC3-D49CFCA5B5D0}" type="pres">
      <dgm:prSet presAssocID="{06A96C11-6132-4A53-979F-8948D9662F23}" presName="text" presStyleLbl="node1" presStyleIdx="2" presStyleCnt="3">
        <dgm:presLayoutVars>
          <dgm:bulletEnabled val="1"/>
        </dgm:presLayoutVars>
      </dgm:prSet>
      <dgm:spPr/>
    </dgm:pt>
  </dgm:ptLst>
  <dgm:cxnLst>
    <dgm:cxn modelId="{EEF1B101-81E7-4DD3-B208-54E09C8137DC}" srcId="{06A96C11-6132-4A53-979F-8948D9662F23}" destId="{F29F8AA8-84B6-43F6-BF2D-722F7A216870}" srcOrd="0" destOrd="0" parTransId="{7ABAE315-46C2-4686-9C20-395CEE00FC51}" sibTransId="{2DAE516E-BFD2-404F-968E-A5EDF095FF7C}"/>
    <dgm:cxn modelId="{57776D11-4E4C-4217-8237-FF62F84BB6C1}" type="presOf" srcId="{C9B1A845-C4F2-4C85-85C8-CDF4F4B0E2E7}" destId="{F9E278EC-AFC3-4916-8A4C-CF05FBD5EA01}" srcOrd="1" destOrd="1" presId="urn:microsoft.com/office/officeart/2005/8/layout/vList4"/>
    <dgm:cxn modelId="{6AC5C914-521F-4B8D-8E40-5D36F161B343}" type="presOf" srcId="{5C24ADC5-0656-475D-9CDB-B833B94AD4A9}" destId="{957687C4-19B2-4AC9-989B-8FDB2211C091}" srcOrd="0" destOrd="2" presId="urn:microsoft.com/office/officeart/2005/8/layout/vList4"/>
    <dgm:cxn modelId="{60725727-B512-46FB-8584-2ABD9234793A}" type="presOf" srcId="{BA59F96B-C09E-46E2-B8F4-84E711B11CAF}" destId="{30DF58FC-58D4-43D7-A7B3-D745C64B976F}" srcOrd="0" destOrd="2" presId="urn:microsoft.com/office/officeart/2005/8/layout/vList4"/>
    <dgm:cxn modelId="{558CF829-EBFB-4283-8CCE-2F9F1D6E286B}" srcId="{3ECC89EE-8867-4105-B6C8-9E7E3DB1E985}" destId="{BA0466D5-FC43-4301-97F3-73AE9A86FD11}" srcOrd="0" destOrd="0" parTransId="{5346D764-889B-431C-868D-32904F47D014}" sibTransId="{718619B4-EEB0-45D0-A1CD-627816B89175}"/>
    <dgm:cxn modelId="{C2BC822C-8F48-4F84-B552-0151B5AA21DD}" srcId="{3F9822E3-4CA0-41A8-BDB9-DD7EE3B839A2}" destId="{A6698CDF-BE62-4999-9B54-0B622A61678C}" srcOrd="0" destOrd="0" parTransId="{0149B2A7-D271-42D6-8D87-C660AD9965AB}" sibTransId="{DA2A6F15-847B-46AF-94C8-05842206D6E1}"/>
    <dgm:cxn modelId="{0174BE2C-A5B1-43DC-A45F-1FEB97ACCB62}" srcId="{BA0466D5-FC43-4301-97F3-73AE9A86FD11}" destId="{BA59F96B-C09E-46E2-B8F4-84E711B11CAF}" srcOrd="1" destOrd="0" parTransId="{C853D159-1CDE-4D10-AEC5-2779C246C6DF}" sibTransId="{07BBB6FC-9FBD-42EB-B21F-5AF556DB0D5B}"/>
    <dgm:cxn modelId="{9EBB0F31-781D-4C68-BC18-EEC6E164CC0F}" srcId="{3ECC89EE-8867-4105-B6C8-9E7E3DB1E985}" destId="{06A96C11-6132-4A53-979F-8948D9662F23}" srcOrd="2" destOrd="0" parTransId="{59FD956E-8540-47D2-976A-4E460028359D}" sibTransId="{50E4BB7E-8A69-449A-AE94-5653B689172C}"/>
    <dgm:cxn modelId="{98C1E237-286A-4DF3-995D-E7EF337BB615}" type="presOf" srcId="{06A96C11-6132-4A53-979F-8948D9662F23}" destId="{ABD3C1C5-6D6F-44FA-8FC3-D49CFCA5B5D0}" srcOrd="1" destOrd="0" presId="urn:microsoft.com/office/officeart/2005/8/layout/vList4"/>
    <dgm:cxn modelId="{90A0023A-4D37-46A6-A728-91C161FC5C3C}" type="presOf" srcId="{D5ECB721-7DDB-43BA-8E2F-8627B8C6F02A}" destId="{1E6405CC-3D2F-47E7-BE57-B3EAB5F055EE}" srcOrd="0" destOrd="2" presId="urn:microsoft.com/office/officeart/2005/8/layout/vList4"/>
    <dgm:cxn modelId="{1631003B-7BE2-4C8E-84E8-CEA06FC8C69D}" type="presOf" srcId="{5C24ADC5-0656-475D-9CDB-B833B94AD4A9}" destId="{E4C90632-77D5-4B9E-B1D6-93208FC6CBBA}" srcOrd="1" destOrd="2" presId="urn:microsoft.com/office/officeart/2005/8/layout/vList4"/>
    <dgm:cxn modelId="{D981843B-AFD7-49DA-A18B-59A69A04EE0D}" type="presOf" srcId="{BA0466D5-FC43-4301-97F3-73AE9A86FD11}" destId="{30DF58FC-58D4-43D7-A7B3-D745C64B976F}" srcOrd="0" destOrd="0" presId="urn:microsoft.com/office/officeart/2005/8/layout/vList4"/>
    <dgm:cxn modelId="{0E85F360-78A1-4D1B-96BF-A691F8A64144}" type="presOf" srcId="{A6698CDF-BE62-4999-9B54-0B622A61678C}" destId="{E4C90632-77D5-4B9E-B1D6-93208FC6CBBA}" srcOrd="1" destOrd="1" presId="urn:microsoft.com/office/officeart/2005/8/layout/vList4"/>
    <dgm:cxn modelId="{C8480341-3E55-4A36-8B7E-C9FFB452FAD9}" type="presOf" srcId="{BA0466D5-FC43-4301-97F3-73AE9A86FD11}" destId="{F9E278EC-AFC3-4916-8A4C-CF05FBD5EA01}" srcOrd="1" destOrd="0" presId="urn:microsoft.com/office/officeart/2005/8/layout/vList4"/>
    <dgm:cxn modelId="{A77AAC63-CA00-4EE5-9D3D-EA85C922062F}" type="presOf" srcId="{BA59F96B-C09E-46E2-B8F4-84E711B11CAF}" destId="{F9E278EC-AFC3-4916-8A4C-CF05FBD5EA01}" srcOrd="1" destOrd="2" presId="urn:microsoft.com/office/officeart/2005/8/layout/vList4"/>
    <dgm:cxn modelId="{71DBED78-2549-405D-98F5-69836081C9EE}" type="presOf" srcId="{D5ECB721-7DDB-43BA-8E2F-8627B8C6F02A}" destId="{ABD3C1C5-6D6F-44FA-8FC3-D49CFCA5B5D0}" srcOrd="1" destOrd="2" presId="urn:microsoft.com/office/officeart/2005/8/layout/vList4"/>
    <dgm:cxn modelId="{69C39B7A-4B9D-4752-8E26-EB09723D2C12}" type="presOf" srcId="{3F9822E3-4CA0-41A8-BDB9-DD7EE3B839A2}" destId="{E4C90632-77D5-4B9E-B1D6-93208FC6CBBA}" srcOrd="1" destOrd="0" presId="urn:microsoft.com/office/officeart/2005/8/layout/vList4"/>
    <dgm:cxn modelId="{6CCDAD7B-F59A-46A1-9124-2525EAD7C54E}" srcId="{BA0466D5-FC43-4301-97F3-73AE9A86FD11}" destId="{C9B1A845-C4F2-4C85-85C8-CDF4F4B0E2E7}" srcOrd="0" destOrd="0" parTransId="{16CB0ABE-4E98-47B8-BA00-F3E005F7A7C8}" sibTransId="{E990182A-868C-4D0C-B6E5-5CA6D6039664}"/>
    <dgm:cxn modelId="{C7BA0C82-7FBC-4361-8343-A0138DFFB8BA}" type="presOf" srcId="{F29F8AA8-84B6-43F6-BF2D-722F7A216870}" destId="{1E6405CC-3D2F-47E7-BE57-B3EAB5F055EE}" srcOrd="0" destOrd="1" presId="urn:microsoft.com/office/officeart/2005/8/layout/vList4"/>
    <dgm:cxn modelId="{DC926388-3CA3-4730-81BE-92BAE61B19EA}" type="presOf" srcId="{06A96C11-6132-4A53-979F-8948D9662F23}" destId="{1E6405CC-3D2F-47E7-BE57-B3EAB5F055EE}" srcOrd="0" destOrd="0" presId="urn:microsoft.com/office/officeart/2005/8/layout/vList4"/>
    <dgm:cxn modelId="{E011938B-031C-4E88-A583-AF81A33A1A80}" type="presOf" srcId="{3F9822E3-4CA0-41A8-BDB9-DD7EE3B839A2}" destId="{957687C4-19B2-4AC9-989B-8FDB2211C091}" srcOrd="0" destOrd="0" presId="urn:microsoft.com/office/officeart/2005/8/layout/vList4"/>
    <dgm:cxn modelId="{5FE5948E-CBEB-4669-9B97-F9A19A1306D6}" srcId="{06A96C11-6132-4A53-979F-8948D9662F23}" destId="{D5ECB721-7DDB-43BA-8E2F-8627B8C6F02A}" srcOrd="1" destOrd="0" parTransId="{6E3786E1-947E-4F66-A661-DCF20B198E55}" sibTransId="{F8814386-7EEB-480C-A595-E2678D7BA69A}"/>
    <dgm:cxn modelId="{92746DA5-B9BD-4347-A5C3-FA5A30172A91}" type="presOf" srcId="{C9B1A845-C4F2-4C85-85C8-CDF4F4B0E2E7}" destId="{30DF58FC-58D4-43D7-A7B3-D745C64B976F}" srcOrd="0" destOrd="1" presId="urn:microsoft.com/office/officeart/2005/8/layout/vList4"/>
    <dgm:cxn modelId="{83E4C5A7-EB80-4CB1-B21F-8005A67EE2F3}" type="presOf" srcId="{F29F8AA8-84B6-43F6-BF2D-722F7A216870}" destId="{ABD3C1C5-6D6F-44FA-8FC3-D49CFCA5B5D0}" srcOrd="1" destOrd="1" presId="urn:microsoft.com/office/officeart/2005/8/layout/vList4"/>
    <dgm:cxn modelId="{3CBBEBBF-5F58-4FAF-AF7A-4E80DFE2D7A2}" type="presOf" srcId="{3ECC89EE-8867-4105-B6C8-9E7E3DB1E985}" destId="{B6B363F0-9D5B-4ECF-A901-9299B7624370}" srcOrd="0" destOrd="0" presId="urn:microsoft.com/office/officeart/2005/8/layout/vList4"/>
    <dgm:cxn modelId="{FCD467C0-D5C8-4F6F-A27A-ECF718B14ADF}" type="presOf" srcId="{A6698CDF-BE62-4999-9B54-0B622A61678C}" destId="{957687C4-19B2-4AC9-989B-8FDB2211C091}" srcOrd="0" destOrd="1" presId="urn:microsoft.com/office/officeart/2005/8/layout/vList4"/>
    <dgm:cxn modelId="{C7817DD4-CDC3-41E2-8E3F-136AB443874B}" srcId="{3ECC89EE-8867-4105-B6C8-9E7E3DB1E985}" destId="{3F9822E3-4CA0-41A8-BDB9-DD7EE3B839A2}" srcOrd="1" destOrd="0" parTransId="{DDFF88F8-CF7B-4157-860F-4F36DFF7444A}" sibTransId="{28C28EAC-621B-4C9B-8EA7-F7FE8A9D9B40}"/>
    <dgm:cxn modelId="{9F5CA4D5-E7E0-4AD3-B427-2B0E49009046}" srcId="{3F9822E3-4CA0-41A8-BDB9-DD7EE3B839A2}" destId="{5C24ADC5-0656-475D-9CDB-B833B94AD4A9}" srcOrd="1" destOrd="0" parTransId="{8750ED2D-218F-49A3-8B6D-A8ADED7D861F}" sibTransId="{56EE6A1D-169C-4384-8A97-CE2F749A081C}"/>
    <dgm:cxn modelId="{9CE24B33-22AB-4EA3-8D05-F4FE59B5F6FB}" type="presParOf" srcId="{B6B363F0-9D5B-4ECF-A901-9299B7624370}" destId="{84F95698-7A70-49F5-840C-015D8FA833EA}" srcOrd="0" destOrd="0" presId="urn:microsoft.com/office/officeart/2005/8/layout/vList4"/>
    <dgm:cxn modelId="{82BD739F-6DDF-4273-AFC2-E55D0582D017}" type="presParOf" srcId="{84F95698-7A70-49F5-840C-015D8FA833EA}" destId="{30DF58FC-58D4-43D7-A7B3-D745C64B976F}" srcOrd="0" destOrd="0" presId="urn:microsoft.com/office/officeart/2005/8/layout/vList4"/>
    <dgm:cxn modelId="{7B6F1939-E002-4042-817A-C37C83F5A6BB}" type="presParOf" srcId="{84F95698-7A70-49F5-840C-015D8FA833EA}" destId="{DF0517AE-8196-4038-B391-98EB2A934C8E}" srcOrd="1" destOrd="0" presId="urn:microsoft.com/office/officeart/2005/8/layout/vList4"/>
    <dgm:cxn modelId="{96AC7D27-64BF-4980-BA0F-68FA9DF07CA5}" type="presParOf" srcId="{84F95698-7A70-49F5-840C-015D8FA833EA}" destId="{F9E278EC-AFC3-4916-8A4C-CF05FBD5EA01}" srcOrd="2" destOrd="0" presId="urn:microsoft.com/office/officeart/2005/8/layout/vList4"/>
    <dgm:cxn modelId="{FFB38F17-E60A-4E3A-BE74-6E6609CE5D70}" type="presParOf" srcId="{B6B363F0-9D5B-4ECF-A901-9299B7624370}" destId="{8902FC2C-FBF3-4DAF-84BA-2C39D2E9DF63}" srcOrd="1" destOrd="0" presId="urn:microsoft.com/office/officeart/2005/8/layout/vList4"/>
    <dgm:cxn modelId="{C2968D0A-B197-4919-8734-89ACBB13188E}" type="presParOf" srcId="{B6B363F0-9D5B-4ECF-A901-9299B7624370}" destId="{DA01BF82-BC1B-46CA-B72A-BF62308588E3}" srcOrd="2" destOrd="0" presId="urn:microsoft.com/office/officeart/2005/8/layout/vList4"/>
    <dgm:cxn modelId="{23DBB311-933A-4797-8196-67EAE037A5A4}" type="presParOf" srcId="{DA01BF82-BC1B-46CA-B72A-BF62308588E3}" destId="{957687C4-19B2-4AC9-989B-8FDB2211C091}" srcOrd="0" destOrd="0" presId="urn:microsoft.com/office/officeart/2005/8/layout/vList4"/>
    <dgm:cxn modelId="{8BB5AEB8-B359-4EAC-A494-817219A6C2CF}" type="presParOf" srcId="{DA01BF82-BC1B-46CA-B72A-BF62308588E3}" destId="{E235DA03-5B14-4614-9DD3-5491CCD80FF2}" srcOrd="1" destOrd="0" presId="urn:microsoft.com/office/officeart/2005/8/layout/vList4"/>
    <dgm:cxn modelId="{14DDE09D-D354-4084-A5F6-2CB58DFB6BDE}" type="presParOf" srcId="{DA01BF82-BC1B-46CA-B72A-BF62308588E3}" destId="{E4C90632-77D5-4B9E-B1D6-93208FC6CBBA}" srcOrd="2" destOrd="0" presId="urn:microsoft.com/office/officeart/2005/8/layout/vList4"/>
    <dgm:cxn modelId="{14F02B35-76B3-4310-91AF-4DCC655A6BFC}" type="presParOf" srcId="{B6B363F0-9D5B-4ECF-A901-9299B7624370}" destId="{114A7A1C-E302-4A59-8D24-A59674B954D5}" srcOrd="3" destOrd="0" presId="urn:microsoft.com/office/officeart/2005/8/layout/vList4"/>
    <dgm:cxn modelId="{8D574E23-890B-4BC5-9579-935C8E34C58F}" type="presParOf" srcId="{B6B363F0-9D5B-4ECF-A901-9299B7624370}" destId="{018A50BA-9A3E-4EA5-B0D9-B673AD7D1C53}" srcOrd="4" destOrd="0" presId="urn:microsoft.com/office/officeart/2005/8/layout/vList4"/>
    <dgm:cxn modelId="{ECE1C7ED-7EE5-44A1-A4D3-AEA7234C4DCC}" type="presParOf" srcId="{018A50BA-9A3E-4EA5-B0D9-B673AD7D1C53}" destId="{1E6405CC-3D2F-47E7-BE57-B3EAB5F055EE}" srcOrd="0" destOrd="0" presId="urn:microsoft.com/office/officeart/2005/8/layout/vList4"/>
    <dgm:cxn modelId="{E178CBCD-78A2-4E6F-8376-B7CB1EA6E266}" type="presParOf" srcId="{018A50BA-9A3E-4EA5-B0D9-B673AD7D1C53}" destId="{B55CB191-42B8-4D97-A049-EF759CE3D0AE}" srcOrd="1" destOrd="0" presId="urn:microsoft.com/office/officeart/2005/8/layout/vList4"/>
    <dgm:cxn modelId="{E5F677A4-B9B1-49A8-A965-6DEBB65AB533}" type="presParOf" srcId="{018A50BA-9A3E-4EA5-B0D9-B673AD7D1C53}" destId="{ABD3C1C5-6D6F-44FA-8FC3-D49CFCA5B5D0}"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DB7A836-5143-409B-9A16-731EFADB2763}"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25F4D30D-B72E-464F-8A20-0A530DA80C9B}">
      <dgm:prSet custT="1"/>
      <dgm:spPr/>
      <dgm:t>
        <a:bodyPr anchor="t" anchorCtr="0"/>
        <a:lstStyle/>
        <a:p>
          <a:pPr>
            <a:lnSpc>
              <a:spcPct val="100000"/>
            </a:lnSpc>
          </a:pPr>
          <a:r>
            <a:rPr lang="en-US" sz="1800" kern="1200" dirty="0">
              <a:solidFill>
                <a:prstClr val="black">
                  <a:hueOff val="0"/>
                  <a:satOff val="0"/>
                  <a:lumOff val="0"/>
                  <a:alphaOff val="0"/>
                </a:prstClr>
              </a:solidFill>
              <a:latin typeface="Calibri" panose="020F0502020204030204"/>
              <a:ea typeface="+mn-ea"/>
              <a:cs typeface="+mn-cs"/>
            </a:rPr>
            <a:t>SDK </a:t>
          </a:r>
          <a:r>
            <a:rPr lang="en-US" sz="1800" b="1" kern="1200" dirty="0">
              <a:solidFill>
                <a:prstClr val="black">
                  <a:hueOff val="0"/>
                  <a:satOff val="0"/>
                  <a:lumOff val="0"/>
                  <a:alphaOff val="0"/>
                </a:prstClr>
              </a:solidFill>
              <a:latin typeface="Calibri" panose="020F0502020204030204"/>
              <a:ea typeface="+mn-ea"/>
              <a:cs typeface="+mn-cs"/>
            </a:rPr>
            <a:t>version 1.4.0 </a:t>
          </a:r>
          <a:r>
            <a:rPr lang="en-US" sz="1800" kern="1200" dirty="0">
              <a:solidFill>
                <a:prstClr val="black">
                  <a:hueOff val="0"/>
                  <a:satOff val="0"/>
                  <a:lumOff val="0"/>
                  <a:alphaOff val="0"/>
                </a:prstClr>
              </a:solidFill>
              <a:latin typeface="Calibri" panose="020F0502020204030204"/>
              <a:ea typeface="+mn-ea"/>
              <a:cs typeface="+mn-cs"/>
            </a:rPr>
            <a:t>will be released in early April 2022 based upon the data standards published in March 2022.</a:t>
          </a:r>
        </a:p>
      </dgm:t>
    </dgm:pt>
    <dgm:pt modelId="{33327C62-3D7D-40A2-8758-64D856EC2178}" type="parTrans" cxnId="{A68AC32B-28B1-4F05-95D3-C932320D0AE9}">
      <dgm:prSet/>
      <dgm:spPr/>
      <dgm:t>
        <a:bodyPr/>
        <a:lstStyle/>
        <a:p>
          <a:endParaRPr lang="en-US"/>
        </a:p>
      </dgm:t>
    </dgm:pt>
    <dgm:pt modelId="{C2406D30-8123-4F5E-B403-B1B3FCB34B71}" type="sibTrans" cxnId="{A68AC32B-28B1-4F05-95D3-C932320D0AE9}">
      <dgm:prSet/>
      <dgm:spPr/>
      <dgm:t>
        <a:bodyPr/>
        <a:lstStyle/>
        <a:p>
          <a:endParaRPr lang="en-US"/>
        </a:p>
      </dgm:t>
    </dgm:pt>
    <dgm:pt modelId="{35D82119-22A7-43F2-A7E5-9BDCBD2AA9BB}">
      <dgm:prSet custT="1"/>
      <dgm:spPr/>
      <dgm:t>
        <a:bodyPr/>
        <a:lstStyle/>
        <a:p>
          <a:pPr>
            <a:lnSpc>
              <a:spcPct val="100000"/>
            </a:lnSpc>
          </a:pPr>
          <a:r>
            <a:rPr lang="en-US" sz="1800"/>
            <a:t>The mini-pilot for </a:t>
          </a:r>
          <a:r>
            <a:rPr lang="en-US" sz="1800" b="1"/>
            <a:t>End-to-End testing </a:t>
          </a:r>
          <a:r>
            <a:rPr lang="en-US" sz="1800"/>
            <a:t>will occur from May – August 2022 for the pilot program.</a:t>
          </a:r>
        </a:p>
      </dgm:t>
    </dgm:pt>
    <dgm:pt modelId="{95D98F66-AC27-4718-A1E3-B39F6B05984C}" type="parTrans" cxnId="{34859967-4B36-4240-8AFB-397DACF843FC}">
      <dgm:prSet/>
      <dgm:spPr/>
      <dgm:t>
        <a:bodyPr/>
        <a:lstStyle/>
        <a:p>
          <a:endParaRPr lang="en-US"/>
        </a:p>
      </dgm:t>
    </dgm:pt>
    <dgm:pt modelId="{C8F7802F-FA84-4BCE-902B-4BF0C793C7B5}" type="sibTrans" cxnId="{34859967-4B36-4240-8AFB-397DACF843FC}">
      <dgm:prSet/>
      <dgm:spPr/>
      <dgm:t>
        <a:bodyPr/>
        <a:lstStyle/>
        <a:p>
          <a:endParaRPr lang="en-US"/>
        </a:p>
      </dgm:t>
    </dgm:pt>
    <dgm:pt modelId="{A8F25083-BC3E-47BA-8EB0-3A718A14EAE5}">
      <dgm:prSet custT="1"/>
      <dgm:spPr/>
      <dgm:t>
        <a:bodyPr anchor="t" anchorCtr="0"/>
        <a:lstStyle/>
        <a:p>
          <a:pPr>
            <a:lnSpc>
              <a:spcPct val="100000"/>
            </a:lnSpc>
          </a:pPr>
          <a:r>
            <a:rPr lang="en-US" sz="1800"/>
            <a:t>LEAs in the 2022-2023 parallel submission will compare XML against ODS 3.x </a:t>
          </a:r>
          <a:r>
            <a:rPr lang="en-US" sz="1800" b="1"/>
            <a:t>prior to submission deadlines</a:t>
          </a:r>
          <a:endParaRPr lang="en-US" sz="1800"/>
        </a:p>
      </dgm:t>
    </dgm:pt>
    <dgm:pt modelId="{815B6253-3293-4846-879E-977BDA9BB843}" type="parTrans" cxnId="{63A7AF5C-526B-4482-AB74-CF6D69A1F858}">
      <dgm:prSet/>
      <dgm:spPr/>
      <dgm:t>
        <a:bodyPr/>
        <a:lstStyle/>
        <a:p>
          <a:endParaRPr lang="en-US"/>
        </a:p>
      </dgm:t>
    </dgm:pt>
    <dgm:pt modelId="{CB717676-9F7D-4EF6-8FDB-430B03C637F0}" type="sibTrans" cxnId="{63A7AF5C-526B-4482-AB74-CF6D69A1F858}">
      <dgm:prSet/>
      <dgm:spPr/>
      <dgm:t>
        <a:bodyPr/>
        <a:lstStyle/>
        <a:p>
          <a:endParaRPr lang="en-US"/>
        </a:p>
      </dgm:t>
    </dgm:pt>
    <dgm:pt modelId="{36DC280A-CD55-4665-B5E4-5E8E0F906C65}">
      <dgm:prSet custT="1"/>
      <dgm:spPr/>
      <dgm:t>
        <a:bodyPr anchor="ctr" anchorCtr="0"/>
        <a:lstStyle/>
        <a:p>
          <a:pPr>
            <a:lnSpc>
              <a:spcPct val="100000"/>
            </a:lnSpc>
          </a:pPr>
          <a:r>
            <a:rPr lang="en-US" sz="1800"/>
            <a:t>LEAs will confirm product readiness for vendors to obtain the required </a:t>
          </a:r>
          <a:r>
            <a:rPr lang="en-US" sz="1800" b="1"/>
            <a:t>TSDS Compatible Designation</a:t>
          </a:r>
          <a:r>
            <a:rPr lang="en-US" sz="1800"/>
            <a:t>. </a:t>
          </a:r>
          <a:endParaRPr lang="en-US" sz="1800" b="1"/>
        </a:p>
      </dgm:t>
    </dgm:pt>
    <dgm:pt modelId="{0CC82F48-325C-4FB6-8F12-B49759A8635D}" type="parTrans" cxnId="{DE9CEA54-B3A7-4B0E-9088-1ED0EF0EA229}">
      <dgm:prSet/>
      <dgm:spPr/>
      <dgm:t>
        <a:bodyPr/>
        <a:lstStyle/>
        <a:p>
          <a:endParaRPr lang="en-US"/>
        </a:p>
      </dgm:t>
    </dgm:pt>
    <dgm:pt modelId="{A9BF894B-46C7-4F4C-8B7A-FCC2EF089CFD}" type="sibTrans" cxnId="{DE9CEA54-B3A7-4B0E-9088-1ED0EF0EA229}">
      <dgm:prSet/>
      <dgm:spPr/>
      <dgm:t>
        <a:bodyPr/>
        <a:lstStyle/>
        <a:p>
          <a:endParaRPr lang="en-US"/>
        </a:p>
      </dgm:t>
    </dgm:pt>
    <dgm:pt modelId="{40785628-3722-4E66-99DD-32BDCAA824B0}" type="pres">
      <dgm:prSet presAssocID="{8DB7A836-5143-409B-9A16-731EFADB2763}" presName="root" presStyleCnt="0">
        <dgm:presLayoutVars>
          <dgm:dir/>
          <dgm:resizeHandles val="exact"/>
        </dgm:presLayoutVars>
      </dgm:prSet>
      <dgm:spPr/>
    </dgm:pt>
    <dgm:pt modelId="{B6E665F4-E97B-4F87-8BB3-BE0B27EC77CD}" type="pres">
      <dgm:prSet presAssocID="{25F4D30D-B72E-464F-8A20-0A530DA80C9B}" presName="compNode" presStyleCnt="0"/>
      <dgm:spPr/>
    </dgm:pt>
    <dgm:pt modelId="{1F218BE6-29E0-478E-ADAA-F9BCA00755CD}" type="pres">
      <dgm:prSet presAssocID="{25F4D30D-B72E-464F-8A20-0A530DA80C9B}" presName="bgRect" presStyleLbl="bgShp" presStyleIdx="0" presStyleCnt="4"/>
      <dgm:spPr/>
    </dgm:pt>
    <dgm:pt modelId="{3D9E6714-B90C-486F-84EA-6FB8F8760170}" type="pres">
      <dgm:prSet presAssocID="{25F4D30D-B72E-464F-8A20-0A530DA80C9B}" presName="iconRect" presStyleLbl="node1" presStyleIdx="0" presStyleCnt="4"/>
      <dgm:spPr>
        <a:blipFill>
          <a:blip xmlns:r="http://schemas.openxmlformats.org/officeDocument/2006/relationships" r:embed="rId1"/>
          <a:srcRect/>
          <a:stretch>
            <a:fillRect/>
          </a:stretch>
        </a:blipFill>
        <a:ln>
          <a:solidFill>
            <a:srgbClr val="0D6CB9"/>
          </a:solidFill>
        </a:ln>
      </dgm:spPr>
    </dgm:pt>
    <dgm:pt modelId="{52C2E40F-B2AF-42B1-873B-C5A3D972BB5C}" type="pres">
      <dgm:prSet presAssocID="{25F4D30D-B72E-464F-8A20-0A530DA80C9B}" presName="spaceRect" presStyleCnt="0"/>
      <dgm:spPr/>
    </dgm:pt>
    <dgm:pt modelId="{301C03B9-0EA4-47EC-96AC-E50056961504}" type="pres">
      <dgm:prSet presAssocID="{25F4D30D-B72E-464F-8A20-0A530DA80C9B}" presName="parTx" presStyleLbl="revTx" presStyleIdx="0" presStyleCnt="4">
        <dgm:presLayoutVars>
          <dgm:chMax val="0"/>
          <dgm:chPref val="0"/>
        </dgm:presLayoutVars>
      </dgm:prSet>
      <dgm:spPr/>
    </dgm:pt>
    <dgm:pt modelId="{F9342A9D-F449-4B47-A855-2D1F7182749F}" type="pres">
      <dgm:prSet presAssocID="{C2406D30-8123-4F5E-B403-B1B3FCB34B71}" presName="sibTrans" presStyleCnt="0"/>
      <dgm:spPr/>
    </dgm:pt>
    <dgm:pt modelId="{3D09C677-284F-4723-AC9F-7139BE663636}" type="pres">
      <dgm:prSet presAssocID="{35D82119-22A7-43F2-A7E5-9BDCBD2AA9BB}" presName="compNode" presStyleCnt="0"/>
      <dgm:spPr/>
    </dgm:pt>
    <dgm:pt modelId="{D9196AF9-7D27-4D5F-AD70-40915B758B67}" type="pres">
      <dgm:prSet presAssocID="{35D82119-22A7-43F2-A7E5-9BDCBD2AA9BB}" presName="bgRect" presStyleLbl="bgShp" presStyleIdx="1" presStyleCnt="4" custLinFactNeighborX="-746" custLinFactNeighborY="743"/>
      <dgm:spPr/>
    </dgm:pt>
    <dgm:pt modelId="{3C9C8D17-6300-4660-A1F1-6A9892CE9041}" type="pres">
      <dgm:prSet presAssocID="{35D82119-22A7-43F2-A7E5-9BDCBD2AA9BB}" presName="iconRect" presStyleLbl="node1" presStyleIdx="1" presStyleCnt="4"/>
      <dgm:spPr>
        <a:blipFill>
          <a:blip xmlns:r="http://schemas.openxmlformats.org/officeDocument/2006/relationships" r:embed="rId2"/>
          <a:srcRect/>
          <a:stretch>
            <a:fillRect/>
          </a:stretch>
        </a:blipFill>
        <a:ln>
          <a:solidFill>
            <a:srgbClr val="0D6CB9"/>
          </a:solidFill>
        </a:ln>
      </dgm:spPr>
    </dgm:pt>
    <dgm:pt modelId="{E3A7AA42-A0CC-4F6B-91B2-271BBCE96647}" type="pres">
      <dgm:prSet presAssocID="{35D82119-22A7-43F2-A7E5-9BDCBD2AA9BB}" presName="spaceRect" presStyleCnt="0"/>
      <dgm:spPr/>
    </dgm:pt>
    <dgm:pt modelId="{EDC1CA29-D1F2-4AF4-BAE8-54B79C36E48B}" type="pres">
      <dgm:prSet presAssocID="{35D82119-22A7-43F2-A7E5-9BDCBD2AA9BB}" presName="parTx" presStyleLbl="revTx" presStyleIdx="1" presStyleCnt="4">
        <dgm:presLayoutVars>
          <dgm:chMax val="0"/>
          <dgm:chPref val="0"/>
        </dgm:presLayoutVars>
      </dgm:prSet>
      <dgm:spPr/>
    </dgm:pt>
    <dgm:pt modelId="{30F8A2CF-97EB-4014-BBC6-B16ABDE936F2}" type="pres">
      <dgm:prSet presAssocID="{C8F7802F-FA84-4BCE-902B-4BF0C793C7B5}" presName="sibTrans" presStyleCnt="0"/>
      <dgm:spPr/>
    </dgm:pt>
    <dgm:pt modelId="{188DD861-CFB0-4329-B001-A50993EE81D0}" type="pres">
      <dgm:prSet presAssocID="{A8F25083-BC3E-47BA-8EB0-3A718A14EAE5}" presName="compNode" presStyleCnt="0"/>
      <dgm:spPr/>
    </dgm:pt>
    <dgm:pt modelId="{32EC2B26-DC2E-4184-8BE4-1344C879720C}" type="pres">
      <dgm:prSet presAssocID="{A8F25083-BC3E-47BA-8EB0-3A718A14EAE5}" presName="bgRect" presStyleLbl="bgShp" presStyleIdx="2" presStyleCnt="4"/>
      <dgm:spPr/>
    </dgm:pt>
    <dgm:pt modelId="{AF82FCC2-9709-4FF9-B7EE-DCC0E54A822B}" type="pres">
      <dgm:prSet presAssocID="{A8F25083-BC3E-47BA-8EB0-3A718A14EAE5}" presName="iconRect" presStyleLbl="node1" presStyleIdx="2" presStyleCnt="4"/>
      <dgm:spPr>
        <a:blipFill>
          <a:blip xmlns:r="http://schemas.openxmlformats.org/officeDocument/2006/relationships" r:embed="rId3"/>
          <a:srcRect/>
          <a:stretch>
            <a:fillRect/>
          </a:stretch>
        </a:blipFill>
        <a:ln>
          <a:solidFill>
            <a:srgbClr val="0D6CB9"/>
          </a:solidFill>
        </a:ln>
      </dgm:spPr>
    </dgm:pt>
    <dgm:pt modelId="{5A52E28D-63E4-4E12-B40A-4372D2D16C34}" type="pres">
      <dgm:prSet presAssocID="{A8F25083-BC3E-47BA-8EB0-3A718A14EAE5}" presName="spaceRect" presStyleCnt="0"/>
      <dgm:spPr/>
    </dgm:pt>
    <dgm:pt modelId="{8BAA57D8-9CE0-4C36-89AA-832F4B221456}" type="pres">
      <dgm:prSet presAssocID="{A8F25083-BC3E-47BA-8EB0-3A718A14EAE5}" presName="parTx" presStyleLbl="revTx" presStyleIdx="2" presStyleCnt="4">
        <dgm:presLayoutVars>
          <dgm:chMax val="0"/>
          <dgm:chPref val="0"/>
        </dgm:presLayoutVars>
      </dgm:prSet>
      <dgm:spPr/>
    </dgm:pt>
    <dgm:pt modelId="{12B451C1-FB76-4DFA-9F22-A48E979B00D2}" type="pres">
      <dgm:prSet presAssocID="{CB717676-9F7D-4EF6-8FDB-430B03C637F0}" presName="sibTrans" presStyleCnt="0"/>
      <dgm:spPr/>
    </dgm:pt>
    <dgm:pt modelId="{2803EC2F-0318-4E1A-8030-752A541B0830}" type="pres">
      <dgm:prSet presAssocID="{36DC280A-CD55-4665-B5E4-5E8E0F906C65}" presName="compNode" presStyleCnt="0"/>
      <dgm:spPr/>
    </dgm:pt>
    <dgm:pt modelId="{68BD6996-D400-4D00-8693-FA5F10A0358F}" type="pres">
      <dgm:prSet presAssocID="{36DC280A-CD55-4665-B5E4-5E8E0F906C65}" presName="bgRect" presStyleLbl="bgShp" presStyleIdx="3" presStyleCnt="4"/>
      <dgm:spPr/>
    </dgm:pt>
    <dgm:pt modelId="{E4D36D34-F92B-4722-8F1F-C4428A78967E}" type="pres">
      <dgm:prSet presAssocID="{36DC280A-CD55-4665-B5E4-5E8E0F906C65}" presName="iconRect" presStyleLbl="nod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l="-20000" r="-20000"/>
          </a:stretch>
        </a:blipFill>
        <a:ln>
          <a:solidFill>
            <a:srgbClr val="0D6CB9"/>
          </a:solidFill>
        </a:ln>
      </dgm:spPr>
    </dgm:pt>
    <dgm:pt modelId="{EE1C654A-AF15-4EFE-A75A-B9A841AC5095}" type="pres">
      <dgm:prSet presAssocID="{36DC280A-CD55-4665-B5E4-5E8E0F906C65}" presName="spaceRect" presStyleCnt="0"/>
      <dgm:spPr/>
    </dgm:pt>
    <dgm:pt modelId="{046F1691-E7D8-4985-85C7-DABB4EF5F651}" type="pres">
      <dgm:prSet presAssocID="{36DC280A-CD55-4665-B5E4-5E8E0F906C65}" presName="parTx" presStyleLbl="revTx" presStyleIdx="3" presStyleCnt="4">
        <dgm:presLayoutVars>
          <dgm:chMax val="0"/>
          <dgm:chPref val="0"/>
        </dgm:presLayoutVars>
      </dgm:prSet>
      <dgm:spPr/>
    </dgm:pt>
  </dgm:ptLst>
  <dgm:cxnLst>
    <dgm:cxn modelId="{3BF4E723-FB7B-4665-B170-F18739EB2BE3}" type="presOf" srcId="{8DB7A836-5143-409B-9A16-731EFADB2763}" destId="{40785628-3722-4E66-99DD-32BDCAA824B0}" srcOrd="0" destOrd="0" presId="urn:microsoft.com/office/officeart/2018/2/layout/IconVerticalSolidList"/>
    <dgm:cxn modelId="{A68AC32B-28B1-4F05-95D3-C932320D0AE9}" srcId="{8DB7A836-5143-409B-9A16-731EFADB2763}" destId="{25F4D30D-B72E-464F-8A20-0A530DA80C9B}" srcOrd="0" destOrd="0" parTransId="{33327C62-3D7D-40A2-8758-64D856EC2178}" sibTransId="{C2406D30-8123-4F5E-B403-B1B3FCB34B71}"/>
    <dgm:cxn modelId="{63A7AF5C-526B-4482-AB74-CF6D69A1F858}" srcId="{8DB7A836-5143-409B-9A16-731EFADB2763}" destId="{A8F25083-BC3E-47BA-8EB0-3A718A14EAE5}" srcOrd="2" destOrd="0" parTransId="{815B6253-3293-4846-879E-977BDA9BB843}" sibTransId="{CB717676-9F7D-4EF6-8FDB-430B03C637F0}"/>
    <dgm:cxn modelId="{34859967-4B36-4240-8AFB-397DACF843FC}" srcId="{8DB7A836-5143-409B-9A16-731EFADB2763}" destId="{35D82119-22A7-43F2-A7E5-9BDCBD2AA9BB}" srcOrd="1" destOrd="0" parTransId="{95D98F66-AC27-4718-A1E3-B39F6B05984C}" sibTransId="{C8F7802F-FA84-4BCE-902B-4BF0C793C7B5}"/>
    <dgm:cxn modelId="{DE9CEA54-B3A7-4B0E-9088-1ED0EF0EA229}" srcId="{8DB7A836-5143-409B-9A16-731EFADB2763}" destId="{36DC280A-CD55-4665-B5E4-5E8E0F906C65}" srcOrd="3" destOrd="0" parTransId="{0CC82F48-325C-4FB6-8F12-B49759A8635D}" sibTransId="{A9BF894B-46C7-4F4C-8B7A-FCC2EF089CFD}"/>
    <dgm:cxn modelId="{EFCACF75-7964-4D3C-89FE-C0E6B31084C6}" type="presOf" srcId="{A8F25083-BC3E-47BA-8EB0-3A718A14EAE5}" destId="{8BAA57D8-9CE0-4C36-89AA-832F4B221456}" srcOrd="0" destOrd="0" presId="urn:microsoft.com/office/officeart/2018/2/layout/IconVerticalSolidList"/>
    <dgm:cxn modelId="{A6A45CCC-5A28-4CD9-9329-352D518FCCB0}" type="presOf" srcId="{35D82119-22A7-43F2-A7E5-9BDCBD2AA9BB}" destId="{EDC1CA29-D1F2-4AF4-BAE8-54B79C36E48B}" srcOrd="0" destOrd="0" presId="urn:microsoft.com/office/officeart/2018/2/layout/IconVerticalSolidList"/>
    <dgm:cxn modelId="{7DB7B4D0-C008-4870-9433-A89D55BF61B9}" type="presOf" srcId="{25F4D30D-B72E-464F-8A20-0A530DA80C9B}" destId="{301C03B9-0EA4-47EC-96AC-E50056961504}" srcOrd="0" destOrd="0" presId="urn:microsoft.com/office/officeart/2018/2/layout/IconVerticalSolidList"/>
    <dgm:cxn modelId="{B81D8EE7-0D49-479A-A7AD-527DAB3CA996}" type="presOf" srcId="{36DC280A-CD55-4665-B5E4-5E8E0F906C65}" destId="{046F1691-E7D8-4985-85C7-DABB4EF5F651}" srcOrd="0" destOrd="0" presId="urn:microsoft.com/office/officeart/2018/2/layout/IconVerticalSolidList"/>
    <dgm:cxn modelId="{BA2483A3-F31E-4364-A6F3-7DF33F24DA5D}" type="presParOf" srcId="{40785628-3722-4E66-99DD-32BDCAA824B0}" destId="{B6E665F4-E97B-4F87-8BB3-BE0B27EC77CD}" srcOrd="0" destOrd="0" presId="urn:microsoft.com/office/officeart/2018/2/layout/IconVerticalSolidList"/>
    <dgm:cxn modelId="{3A3ED439-0FAA-4B5C-B012-31C86D0C6F6A}" type="presParOf" srcId="{B6E665F4-E97B-4F87-8BB3-BE0B27EC77CD}" destId="{1F218BE6-29E0-478E-ADAA-F9BCA00755CD}" srcOrd="0" destOrd="0" presId="urn:microsoft.com/office/officeart/2018/2/layout/IconVerticalSolidList"/>
    <dgm:cxn modelId="{62EFB990-2CBB-406E-BB13-1CFC49FFB43D}" type="presParOf" srcId="{B6E665F4-E97B-4F87-8BB3-BE0B27EC77CD}" destId="{3D9E6714-B90C-486F-84EA-6FB8F8760170}" srcOrd="1" destOrd="0" presId="urn:microsoft.com/office/officeart/2018/2/layout/IconVerticalSolidList"/>
    <dgm:cxn modelId="{8ECDCE2B-AA06-41BE-B2C0-6F36EB779B59}" type="presParOf" srcId="{B6E665F4-E97B-4F87-8BB3-BE0B27EC77CD}" destId="{52C2E40F-B2AF-42B1-873B-C5A3D972BB5C}" srcOrd="2" destOrd="0" presId="urn:microsoft.com/office/officeart/2018/2/layout/IconVerticalSolidList"/>
    <dgm:cxn modelId="{9DA95485-66FF-45A6-A2C6-0AB636FEB34D}" type="presParOf" srcId="{B6E665F4-E97B-4F87-8BB3-BE0B27EC77CD}" destId="{301C03B9-0EA4-47EC-96AC-E50056961504}" srcOrd="3" destOrd="0" presId="urn:microsoft.com/office/officeart/2018/2/layout/IconVerticalSolidList"/>
    <dgm:cxn modelId="{E2CF6F71-E710-4846-8A72-FA1CB6803364}" type="presParOf" srcId="{40785628-3722-4E66-99DD-32BDCAA824B0}" destId="{F9342A9D-F449-4B47-A855-2D1F7182749F}" srcOrd="1" destOrd="0" presId="urn:microsoft.com/office/officeart/2018/2/layout/IconVerticalSolidList"/>
    <dgm:cxn modelId="{6DA51967-413B-4065-A288-0CF00175B332}" type="presParOf" srcId="{40785628-3722-4E66-99DD-32BDCAA824B0}" destId="{3D09C677-284F-4723-AC9F-7139BE663636}" srcOrd="2" destOrd="0" presId="urn:microsoft.com/office/officeart/2018/2/layout/IconVerticalSolidList"/>
    <dgm:cxn modelId="{E10687E3-5CA3-4011-9E1E-D68877DF0D8C}" type="presParOf" srcId="{3D09C677-284F-4723-AC9F-7139BE663636}" destId="{D9196AF9-7D27-4D5F-AD70-40915B758B67}" srcOrd="0" destOrd="0" presId="urn:microsoft.com/office/officeart/2018/2/layout/IconVerticalSolidList"/>
    <dgm:cxn modelId="{354F3C27-4A5F-4DC9-9CAB-E01E8C5EB851}" type="presParOf" srcId="{3D09C677-284F-4723-AC9F-7139BE663636}" destId="{3C9C8D17-6300-4660-A1F1-6A9892CE9041}" srcOrd="1" destOrd="0" presId="urn:microsoft.com/office/officeart/2018/2/layout/IconVerticalSolidList"/>
    <dgm:cxn modelId="{708F1C3E-75B3-4924-A806-75C352B6CF34}" type="presParOf" srcId="{3D09C677-284F-4723-AC9F-7139BE663636}" destId="{E3A7AA42-A0CC-4F6B-91B2-271BBCE96647}" srcOrd="2" destOrd="0" presId="urn:microsoft.com/office/officeart/2018/2/layout/IconVerticalSolidList"/>
    <dgm:cxn modelId="{F7857BBC-DF21-45CF-911D-611EAC5E8518}" type="presParOf" srcId="{3D09C677-284F-4723-AC9F-7139BE663636}" destId="{EDC1CA29-D1F2-4AF4-BAE8-54B79C36E48B}" srcOrd="3" destOrd="0" presId="urn:microsoft.com/office/officeart/2018/2/layout/IconVerticalSolidList"/>
    <dgm:cxn modelId="{E2CE363F-DFAF-469E-802E-6BAA272C5CF1}" type="presParOf" srcId="{40785628-3722-4E66-99DD-32BDCAA824B0}" destId="{30F8A2CF-97EB-4014-BBC6-B16ABDE936F2}" srcOrd="3" destOrd="0" presId="urn:microsoft.com/office/officeart/2018/2/layout/IconVerticalSolidList"/>
    <dgm:cxn modelId="{0627CDE0-7475-4520-AAD3-D6CCF081850F}" type="presParOf" srcId="{40785628-3722-4E66-99DD-32BDCAA824B0}" destId="{188DD861-CFB0-4329-B001-A50993EE81D0}" srcOrd="4" destOrd="0" presId="urn:microsoft.com/office/officeart/2018/2/layout/IconVerticalSolidList"/>
    <dgm:cxn modelId="{146DB3BA-AC6C-4952-B95D-952A5FAF71A9}" type="presParOf" srcId="{188DD861-CFB0-4329-B001-A50993EE81D0}" destId="{32EC2B26-DC2E-4184-8BE4-1344C879720C}" srcOrd="0" destOrd="0" presId="urn:microsoft.com/office/officeart/2018/2/layout/IconVerticalSolidList"/>
    <dgm:cxn modelId="{25DF87AC-548B-44D0-A611-988A0BD62AA3}" type="presParOf" srcId="{188DD861-CFB0-4329-B001-A50993EE81D0}" destId="{AF82FCC2-9709-4FF9-B7EE-DCC0E54A822B}" srcOrd="1" destOrd="0" presId="urn:microsoft.com/office/officeart/2018/2/layout/IconVerticalSolidList"/>
    <dgm:cxn modelId="{EE28D5C9-FCD9-4438-810D-4B6BC33E9709}" type="presParOf" srcId="{188DD861-CFB0-4329-B001-A50993EE81D0}" destId="{5A52E28D-63E4-4E12-B40A-4372D2D16C34}" srcOrd="2" destOrd="0" presId="urn:microsoft.com/office/officeart/2018/2/layout/IconVerticalSolidList"/>
    <dgm:cxn modelId="{6EBB9653-DD1D-4EA6-BF6A-EE7CBE568748}" type="presParOf" srcId="{188DD861-CFB0-4329-B001-A50993EE81D0}" destId="{8BAA57D8-9CE0-4C36-89AA-832F4B221456}" srcOrd="3" destOrd="0" presId="urn:microsoft.com/office/officeart/2018/2/layout/IconVerticalSolidList"/>
    <dgm:cxn modelId="{BF002DA2-F877-496B-9FBF-6B49F65A35A6}" type="presParOf" srcId="{40785628-3722-4E66-99DD-32BDCAA824B0}" destId="{12B451C1-FB76-4DFA-9F22-A48E979B00D2}" srcOrd="5" destOrd="0" presId="urn:microsoft.com/office/officeart/2018/2/layout/IconVerticalSolidList"/>
    <dgm:cxn modelId="{CDEF10B8-E4F9-4148-807D-565939C1C3C6}" type="presParOf" srcId="{40785628-3722-4E66-99DD-32BDCAA824B0}" destId="{2803EC2F-0318-4E1A-8030-752A541B0830}" srcOrd="6" destOrd="0" presId="urn:microsoft.com/office/officeart/2018/2/layout/IconVerticalSolidList"/>
    <dgm:cxn modelId="{D45E7C32-56CA-4E06-8D19-3385DA51F349}" type="presParOf" srcId="{2803EC2F-0318-4E1A-8030-752A541B0830}" destId="{68BD6996-D400-4D00-8693-FA5F10A0358F}" srcOrd="0" destOrd="0" presId="urn:microsoft.com/office/officeart/2018/2/layout/IconVerticalSolidList"/>
    <dgm:cxn modelId="{96C2DC08-9E92-410F-96C0-4F7FDB55A7D6}" type="presParOf" srcId="{2803EC2F-0318-4E1A-8030-752A541B0830}" destId="{E4D36D34-F92B-4722-8F1F-C4428A78967E}" srcOrd="1" destOrd="0" presId="urn:microsoft.com/office/officeart/2018/2/layout/IconVerticalSolidList"/>
    <dgm:cxn modelId="{A20E9535-A9AC-4D7B-99AA-AAE01E8F8A89}" type="presParOf" srcId="{2803EC2F-0318-4E1A-8030-752A541B0830}" destId="{EE1C654A-AF15-4EFE-A75A-B9A841AC5095}" srcOrd="2" destOrd="0" presId="urn:microsoft.com/office/officeart/2018/2/layout/IconVerticalSolidList"/>
    <dgm:cxn modelId="{B237A5C5-0EED-4C5D-A929-56D7531F8B71}" type="presParOf" srcId="{2803EC2F-0318-4E1A-8030-752A541B0830}" destId="{046F1691-E7D8-4985-85C7-DABB4EF5F651}"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A8ABFD-3C58-4694-BC19-8E513D1C9C8E}">
      <dsp:nvSpPr>
        <dsp:cNvPr id="0" name=""/>
        <dsp:cNvSpPr/>
      </dsp:nvSpPr>
      <dsp:spPr>
        <a:xfrm>
          <a:off x="1703423" y="0"/>
          <a:ext cx="2452441" cy="2452814"/>
        </a:xfrm>
        <a:prstGeom prst="circularArrow">
          <a:avLst>
            <a:gd name="adj1" fmla="val 10980"/>
            <a:gd name="adj2" fmla="val 1142322"/>
            <a:gd name="adj3" fmla="val 4500000"/>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EC470B-1382-489F-A8B0-244665BDDAE2}">
      <dsp:nvSpPr>
        <dsp:cNvPr id="0" name=""/>
        <dsp:cNvSpPr/>
      </dsp:nvSpPr>
      <dsp:spPr>
        <a:xfrm>
          <a:off x="2245493" y="885540"/>
          <a:ext cx="1362774" cy="681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1511300">
            <a:lnSpc>
              <a:spcPct val="90000"/>
            </a:lnSpc>
            <a:spcBef>
              <a:spcPct val="0"/>
            </a:spcBef>
            <a:spcAft>
              <a:spcPct val="35000"/>
            </a:spcAft>
            <a:buNone/>
          </a:pPr>
          <a:r>
            <a:rPr lang="en-US" sz="3400" kern="1200"/>
            <a:t>Pilot</a:t>
          </a:r>
        </a:p>
      </dsp:txBody>
      <dsp:txXfrm>
        <a:off x="2245493" y="885540"/>
        <a:ext cx="1362774" cy="681224"/>
      </dsp:txXfrm>
    </dsp:sp>
    <dsp:sp modelId="{B0BEA868-E43A-4406-81A1-B84B200AF42E}">
      <dsp:nvSpPr>
        <dsp:cNvPr id="0" name=""/>
        <dsp:cNvSpPr/>
      </dsp:nvSpPr>
      <dsp:spPr>
        <a:xfrm>
          <a:off x="1022266" y="1409324"/>
          <a:ext cx="2452441" cy="2452814"/>
        </a:xfrm>
        <a:prstGeom prst="leftCircularArrow">
          <a:avLst>
            <a:gd name="adj1" fmla="val 10980"/>
            <a:gd name="adj2" fmla="val 1142322"/>
            <a:gd name="adj3" fmla="val 6300000"/>
            <a:gd name="adj4" fmla="val 189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4261236-88B9-4884-8BF9-7C2D6CB7575A}">
      <dsp:nvSpPr>
        <dsp:cNvPr id="0" name=""/>
        <dsp:cNvSpPr/>
      </dsp:nvSpPr>
      <dsp:spPr>
        <a:xfrm>
          <a:off x="1567100" y="2303016"/>
          <a:ext cx="1362774" cy="681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1511300">
            <a:lnSpc>
              <a:spcPct val="90000"/>
            </a:lnSpc>
            <a:spcBef>
              <a:spcPct val="0"/>
            </a:spcBef>
            <a:spcAft>
              <a:spcPct val="35000"/>
            </a:spcAft>
            <a:buNone/>
          </a:pPr>
          <a:r>
            <a:rPr lang="en-US" sz="3400" kern="1200"/>
            <a:t>Parallel</a:t>
          </a:r>
        </a:p>
      </dsp:txBody>
      <dsp:txXfrm>
        <a:off x="1567100" y="2303016"/>
        <a:ext cx="1362774" cy="681224"/>
      </dsp:txXfrm>
    </dsp:sp>
    <dsp:sp modelId="{5C6614B3-6F8F-4A77-8220-DBE18686C55E}">
      <dsp:nvSpPr>
        <dsp:cNvPr id="0" name=""/>
        <dsp:cNvSpPr/>
      </dsp:nvSpPr>
      <dsp:spPr>
        <a:xfrm>
          <a:off x="1877973" y="2987298"/>
          <a:ext cx="2107027" cy="2107871"/>
        </a:xfrm>
        <a:prstGeom prst="blockArc">
          <a:avLst>
            <a:gd name="adj1" fmla="val 13500000"/>
            <a:gd name="adj2" fmla="val 10800000"/>
            <a:gd name="adj3" fmla="val 1274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C7CD17-41AB-4627-8123-DB522EC9DD5E}">
      <dsp:nvSpPr>
        <dsp:cNvPr id="0" name=""/>
        <dsp:cNvSpPr/>
      </dsp:nvSpPr>
      <dsp:spPr>
        <a:xfrm>
          <a:off x="2248717" y="3722531"/>
          <a:ext cx="1362774" cy="681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1511300">
            <a:lnSpc>
              <a:spcPct val="90000"/>
            </a:lnSpc>
            <a:spcBef>
              <a:spcPct val="0"/>
            </a:spcBef>
            <a:spcAft>
              <a:spcPct val="35000"/>
            </a:spcAft>
            <a:buNone/>
          </a:pPr>
          <a:r>
            <a:rPr lang="en-US" sz="3400" kern="1200"/>
            <a:t>Go Live</a:t>
          </a:r>
        </a:p>
      </dsp:txBody>
      <dsp:txXfrm>
        <a:off x="2248717" y="3722531"/>
        <a:ext cx="1362774" cy="68122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2AB85E-898A-4E83-835D-880E09D4E6A2}">
      <dsp:nvSpPr>
        <dsp:cNvPr id="0" name=""/>
        <dsp:cNvSpPr/>
      </dsp:nvSpPr>
      <dsp:spPr>
        <a:xfrm>
          <a:off x="2262" y="256045"/>
          <a:ext cx="2270471" cy="2270471"/>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4952" tIns="40640" rIns="124952" bIns="40640" numCol="1" spcCol="1270" anchor="ctr" anchorCtr="0">
          <a:noAutofit/>
        </a:bodyPr>
        <a:lstStyle/>
        <a:p>
          <a:pPr marL="0" lvl="0" indent="0" algn="ctr" defTabSz="1422400">
            <a:lnSpc>
              <a:spcPct val="90000"/>
            </a:lnSpc>
            <a:spcBef>
              <a:spcPct val="0"/>
            </a:spcBef>
            <a:spcAft>
              <a:spcPct val="35000"/>
            </a:spcAft>
            <a:buNone/>
          </a:pPr>
          <a:r>
            <a:rPr lang="en-US" sz="3200" kern="1200"/>
            <a:t>PEIMS FALL</a:t>
          </a:r>
        </a:p>
      </dsp:txBody>
      <dsp:txXfrm>
        <a:off x="334765" y="588548"/>
        <a:ext cx="1605465" cy="1605465"/>
      </dsp:txXfrm>
    </dsp:sp>
    <dsp:sp modelId="{6E64889D-2441-4570-9202-7173AB3F23A6}">
      <dsp:nvSpPr>
        <dsp:cNvPr id="0" name=""/>
        <dsp:cNvSpPr/>
      </dsp:nvSpPr>
      <dsp:spPr>
        <a:xfrm>
          <a:off x="1818639" y="256045"/>
          <a:ext cx="2270471" cy="2270471"/>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4952" tIns="40640" rIns="124952" bIns="40640" numCol="1" spcCol="1270" anchor="ctr" anchorCtr="0">
          <a:noAutofit/>
        </a:bodyPr>
        <a:lstStyle/>
        <a:p>
          <a:pPr marL="0" lvl="0" indent="0" algn="ctr" defTabSz="1422400">
            <a:lnSpc>
              <a:spcPct val="90000"/>
            </a:lnSpc>
            <a:spcBef>
              <a:spcPct val="0"/>
            </a:spcBef>
            <a:spcAft>
              <a:spcPct val="35000"/>
            </a:spcAft>
            <a:buNone/>
          </a:pPr>
          <a:r>
            <a:rPr lang="en-US" sz="3200" kern="1200"/>
            <a:t>CLASS ROSTER FALL</a:t>
          </a:r>
        </a:p>
      </dsp:txBody>
      <dsp:txXfrm>
        <a:off x="2151142" y="588548"/>
        <a:ext cx="1605465" cy="1605465"/>
      </dsp:txXfrm>
    </dsp:sp>
    <dsp:sp modelId="{73284AC2-CA96-4B68-9269-5F6234604AC4}">
      <dsp:nvSpPr>
        <dsp:cNvPr id="0" name=""/>
        <dsp:cNvSpPr/>
      </dsp:nvSpPr>
      <dsp:spPr>
        <a:xfrm>
          <a:off x="3635016" y="256045"/>
          <a:ext cx="2270471" cy="2270471"/>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4952" tIns="40640" rIns="124952" bIns="40640" numCol="1" spcCol="1270" anchor="ctr" anchorCtr="0">
          <a:noAutofit/>
        </a:bodyPr>
        <a:lstStyle/>
        <a:p>
          <a:pPr marL="0" lvl="0" indent="0" algn="ctr" defTabSz="1422400">
            <a:lnSpc>
              <a:spcPct val="90000"/>
            </a:lnSpc>
            <a:spcBef>
              <a:spcPct val="0"/>
            </a:spcBef>
            <a:spcAft>
              <a:spcPct val="35000"/>
            </a:spcAft>
            <a:buNone/>
          </a:pPr>
          <a:r>
            <a:rPr lang="en-US" sz="3200" kern="1200"/>
            <a:t>CLASS ROSTER WINTER</a:t>
          </a:r>
        </a:p>
      </dsp:txBody>
      <dsp:txXfrm>
        <a:off x="3967519" y="588548"/>
        <a:ext cx="1605465" cy="1605465"/>
      </dsp:txXfrm>
    </dsp:sp>
    <dsp:sp modelId="{30E8C6C7-476C-4C81-9BC6-76A317DD71A9}">
      <dsp:nvSpPr>
        <dsp:cNvPr id="0" name=""/>
        <dsp:cNvSpPr/>
      </dsp:nvSpPr>
      <dsp:spPr>
        <a:xfrm>
          <a:off x="5451393" y="256045"/>
          <a:ext cx="2270471" cy="2270471"/>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4952" tIns="40640" rIns="124952" bIns="40640" numCol="1" spcCol="1270" anchor="ctr" anchorCtr="0">
          <a:noAutofit/>
        </a:bodyPr>
        <a:lstStyle/>
        <a:p>
          <a:pPr marL="0" lvl="0" indent="0" algn="ctr" defTabSz="1422400">
            <a:lnSpc>
              <a:spcPct val="90000"/>
            </a:lnSpc>
            <a:spcBef>
              <a:spcPct val="0"/>
            </a:spcBef>
            <a:spcAft>
              <a:spcPct val="35000"/>
            </a:spcAft>
            <a:buNone/>
          </a:pPr>
          <a:r>
            <a:rPr lang="en-US" sz="3200" kern="1200"/>
            <a:t>CHILD FIND</a:t>
          </a:r>
        </a:p>
      </dsp:txBody>
      <dsp:txXfrm>
        <a:off x="5783896" y="588548"/>
        <a:ext cx="1605465" cy="160546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109C5F-8810-49F2-9223-E6626383CC20}">
      <dsp:nvSpPr>
        <dsp:cNvPr id="0" name=""/>
        <dsp:cNvSpPr/>
      </dsp:nvSpPr>
      <dsp:spPr>
        <a:xfrm>
          <a:off x="0" y="0"/>
          <a:ext cx="4343265" cy="135979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t>PowerSchool</a:t>
          </a:r>
        </a:p>
        <a:p>
          <a:pPr marL="0" lvl="0" indent="0" algn="l" defTabSz="1422400">
            <a:lnSpc>
              <a:spcPct val="90000"/>
            </a:lnSpc>
            <a:spcBef>
              <a:spcPct val="0"/>
            </a:spcBef>
            <a:spcAft>
              <a:spcPct val="35000"/>
            </a:spcAft>
            <a:buNone/>
          </a:pPr>
          <a:r>
            <a:rPr lang="en-US" sz="2000" kern="1200"/>
            <a:t>August 2021</a:t>
          </a:r>
        </a:p>
      </dsp:txBody>
      <dsp:txXfrm>
        <a:off x="1004632" y="0"/>
        <a:ext cx="3338632" cy="1359793"/>
      </dsp:txXfrm>
    </dsp:sp>
    <dsp:sp modelId="{74DA1E13-B319-46EF-8E75-AF4EEE1DD1B2}">
      <dsp:nvSpPr>
        <dsp:cNvPr id="0" name=""/>
        <dsp:cNvSpPr/>
      </dsp:nvSpPr>
      <dsp:spPr>
        <a:xfrm>
          <a:off x="135979" y="135979"/>
          <a:ext cx="868653" cy="1087834"/>
        </a:xfrm>
        <a:prstGeom prst="roundRect">
          <a:avLst>
            <a:gd name="adj" fmla="val 10000"/>
          </a:avLst>
        </a:prstGeom>
        <a:blipFill>
          <a:blip xmlns:r="http://schemas.openxmlformats.org/officeDocument/2006/relationships" r:embed="rId1"/>
          <a:srcRect/>
          <a:stretch>
            <a:fillRect l="-7000" r="-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93DB70B-BD20-4FC6-B27B-E191E61EBBCD}">
      <dsp:nvSpPr>
        <dsp:cNvPr id="0" name=""/>
        <dsp:cNvSpPr/>
      </dsp:nvSpPr>
      <dsp:spPr>
        <a:xfrm>
          <a:off x="0" y="1495772"/>
          <a:ext cx="4343265" cy="135979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t>Aeries </a:t>
          </a:r>
        </a:p>
        <a:p>
          <a:pPr marL="0" lvl="0" indent="0" algn="l" defTabSz="1422400">
            <a:lnSpc>
              <a:spcPct val="90000"/>
            </a:lnSpc>
            <a:spcBef>
              <a:spcPct val="0"/>
            </a:spcBef>
            <a:spcAft>
              <a:spcPct val="35000"/>
            </a:spcAft>
            <a:buNone/>
          </a:pPr>
          <a:r>
            <a:rPr lang="en-US" sz="2000" kern="1200"/>
            <a:t>February 2022</a:t>
          </a:r>
        </a:p>
      </dsp:txBody>
      <dsp:txXfrm>
        <a:off x="1004632" y="1495772"/>
        <a:ext cx="3338632" cy="1359793"/>
      </dsp:txXfrm>
    </dsp:sp>
    <dsp:sp modelId="{DEB1B640-822F-4546-9409-420C8FC618DC}">
      <dsp:nvSpPr>
        <dsp:cNvPr id="0" name=""/>
        <dsp:cNvSpPr/>
      </dsp:nvSpPr>
      <dsp:spPr>
        <a:xfrm>
          <a:off x="135979" y="1631751"/>
          <a:ext cx="868653" cy="1087834"/>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8000" r="-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41A9CA-A631-41D8-B4A3-18ED3FC10BF1}">
      <dsp:nvSpPr>
        <dsp:cNvPr id="0" name=""/>
        <dsp:cNvSpPr/>
      </dsp:nvSpPr>
      <dsp:spPr>
        <a:xfrm>
          <a:off x="0" y="2991544"/>
          <a:ext cx="4343265" cy="135979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t>Skyward </a:t>
          </a:r>
        </a:p>
        <a:p>
          <a:pPr marL="0" lvl="0" indent="0" algn="l" defTabSz="1422400">
            <a:lnSpc>
              <a:spcPct val="90000"/>
            </a:lnSpc>
            <a:spcBef>
              <a:spcPct val="0"/>
            </a:spcBef>
            <a:spcAft>
              <a:spcPct val="35000"/>
            </a:spcAft>
            <a:buNone/>
          </a:pPr>
          <a:r>
            <a:rPr lang="en-US" sz="2000" kern="1200"/>
            <a:t>February 2022</a:t>
          </a:r>
        </a:p>
      </dsp:txBody>
      <dsp:txXfrm>
        <a:off x="1004632" y="2991544"/>
        <a:ext cx="3338632" cy="1359793"/>
      </dsp:txXfrm>
    </dsp:sp>
    <dsp:sp modelId="{7D06A33C-E83D-48DE-B74A-FFEF4E64320A}">
      <dsp:nvSpPr>
        <dsp:cNvPr id="0" name=""/>
        <dsp:cNvSpPr/>
      </dsp:nvSpPr>
      <dsp:spPr>
        <a:xfrm>
          <a:off x="135979" y="3127524"/>
          <a:ext cx="868653" cy="1087834"/>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3000" r="-1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109C5F-8810-49F2-9223-E6626383CC20}">
      <dsp:nvSpPr>
        <dsp:cNvPr id="0" name=""/>
        <dsp:cNvSpPr/>
      </dsp:nvSpPr>
      <dsp:spPr>
        <a:xfrm>
          <a:off x="0" y="0"/>
          <a:ext cx="4343265" cy="135979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t>Ascender</a:t>
          </a:r>
        </a:p>
        <a:p>
          <a:pPr marL="0" lvl="0" indent="0" algn="l" defTabSz="1422400">
            <a:lnSpc>
              <a:spcPct val="90000"/>
            </a:lnSpc>
            <a:spcBef>
              <a:spcPct val="0"/>
            </a:spcBef>
            <a:spcAft>
              <a:spcPct val="35000"/>
            </a:spcAft>
            <a:buNone/>
          </a:pPr>
          <a:r>
            <a:rPr lang="en-US" sz="2000" kern="1200"/>
            <a:t>November 2021</a:t>
          </a:r>
        </a:p>
      </dsp:txBody>
      <dsp:txXfrm>
        <a:off x="1004632" y="0"/>
        <a:ext cx="3338632" cy="1359793"/>
      </dsp:txXfrm>
    </dsp:sp>
    <dsp:sp modelId="{74DA1E13-B319-46EF-8E75-AF4EEE1DD1B2}">
      <dsp:nvSpPr>
        <dsp:cNvPr id="0" name=""/>
        <dsp:cNvSpPr/>
      </dsp:nvSpPr>
      <dsp:spPr>
        <a:xfrm>
          <a:off x="135979" y="135979"/>
          <a:ext cx="868653" cy="1087834"/>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3000" r="-1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93DB70B-BD20-4FC6-B27B-E191E61EBBCD}">
      <dsp:nvSpPr>
        <dsp:cNvPr id="0" name=""/>
        <dsp:cNvSpPr/>
      </dsp:nvSpPr>
      <dsp:spPr>
        <a:xfrm>
          <a:off x="0" y="1495772"/>
          <a:ext cx="4343265" cy="135979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t>Frontline </a:t>
          </a:r>
        </a:p>
        <a:p>
          <a:pPr marL="0" lvl="0" indent="0" algn="l" defTabSz="1422400">
            <a:lnSpc>
              <a:spcPct val="90000"/>
            </a:lnSpc>
            <a:spcBef>
              <a:spcPct val="0"/>
            </a:spcBef>
            <a:spcAft>
              <a:spcPct val="35000"/>
            </a:spcAft>
            <a:buNone/>
          </a:pPr>
          <a:r>
            <a:rPr lang="en-US" sz="2000" kern="1200"/>
            <a:t>February 2022</a:t>
          </a:r>
        </a:p>
      </dsp:txBody>
      <dsp:txXfrm>
        <a:off x="1004632" y="1495772"/>
        <a:ext cx="3338632" cy="1359793"/>
      </dsp:txXfrm>
    </dsp:sp>
    <dsp:sp modelId="{DEB1B640-822F-4546-9409-420C8FC618DC}">
      <dsp:nvSpPr>
        <dsp:cNvPr id="0" name=""/>
        <dsp:cNvSpPr/>
      </dsp:nvSpPr>
      <dsp:spPr>
        <a:xfrm>
          <a:off x="135979" y="1631751"/>
          <a:ext cx="868653" cy="1087834"/>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3000" r="-1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41A9CA-A631-41D8-B4A3-18ED3FC10BF1}">
      <dsp:nvSpPr>
        <dsp:cNvPr id="0" name=""/>
        <dsp:cNvSpPr/>
      </dsp:nvSpPr>
      <dsp:spPr>
        <a:xfrm>
          <a:off x="0" y="2991544"/>
          <a:ext cx="4343265" cy="135979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a:t>Tyler Technologies </a:t>
          </a:r>
        </a:p>
        <a:p>
          <a:pPr marL="0" lvl="0" indent="0" algn="l" defTabSz="1422400">
            <a:lnSpc>
              <a:spcPct val="90000"/>
            </a:lnSpc>
            <a:spcBef>
              <a:spcPct val="0"/>
            </a:spcBef>
            <a:spcAft>
              <a:spcPct val="35000"/>
            </a:spcAft>
            <a:buNone/>
          </a:pPr>
          <a:r>
            <a:rPr lang="en-US" sz="2000" kern="1200"/>
            <a:t>February 2022</a:t>
          </a:r>
        </a:p>
      </dsp:txBody>
      <dsp:txXfrm>
        <a:off x="1004632" y="2991544"/>
        <a:ext cx="3338632" cy="1359793"/>
      </dsp:txXfrm>
    </dsp:sp>
    <dsp:sp modelId="{7D06A33C-E83D-48DE-B74A-FFEF4E64320A}">
      <dsp:nvSpPr>
        <dsp:cNvPr id="0" name=""/>
        <dsp:cNvSpPr/>
      </dsp:nvSpPr>
      <dsp:spPr>
        <a:xfrm>
          <a:off x="135979" y="3127524"/>
          <a:ext cx="868653" cy="1087834"/>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8000" r="-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957313-719C-4AB2-8E4D-335379354495}">
      <dsp:nvSpPr>
        <dsp:cNvPr id="0" name=""/>
        <dsp:cNvSpPr/>
      </dsp:nvSpPr>
      <dsp:spPr>
        <a:xfrm>
          <a:off x="349304" y="4330296"/>
          <a:ext cx="8256396"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C4FA774-8559-45BD-AE35-8B51F76610BF}">
      <dsp:nvSpPr>
        <dsp:cNvPr id="0" name=""/>
        <dsp:cNvSpPr/>
      </dsp:nvSpPr>
      <dsp:spPr>
        <a:xfrm>
          <a:off x="349304" y="3707715"/>
          <a:ext cx="8256396"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841EB3-4841-405C-A4D3-A3B0E897C6CC}">
      <dsp:nvSpPr>
        <dsp:cNvPr id="0" name=""/>
        <dsp:cNvSpPr/>
      </dsp:nvSpPr>
      <dsp:spPr>
        <a:xfrm>
          <a:off x="349304" y="3085133"/>
          <a:ext cx="8256396"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F906D29-6421-4B94-A2A9-FAAE06ED6071}">
      <dsp:nvSpPr>
        <dsp:cNvPr id="0" name=""/>
        <dsp:cNvSpPr/>
      </dsp:nvSpPr>
      <dsp:spPr>
        <a:xfrm>
          <a:off x="349304" y="2462552"/>
          <a:ext cx="8256396"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2273F1-22AD-4324-8254-4AF354311B28}">
      <dsp:nvSpPr>
        <dsp:cNvPr id="0" name=""/>
        <dsp:cNvSpPr/>
      </dsp:nvSpPr>
      <dsp:spPr>
        <a:xfrm>
          <a:off x="349304" y="1839970"/>
          <a:ext cx="8256396"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D1FD7E1-8CAD-4163-A01A-578AC277F098}">
      <dsp:nvSpPr>
        <dsp:cNvPr id="0" name=""/>
        <dsp:cNvSpPr/>
      </dsp:nvSpPr>
      <dsp:spPr>
        <a:xfrm>
          <a:off x="349304" y="1217389"/>
          <a:ext cx="8256396"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9558B67-299C-4C73-9A60-6BA26DE01625}">
      <dsp:nvSpPr>
        <dsp:cNvPr id="0" name=""/>
        <dsp:cNvSpPr/>
      </dsp:nvSpPr>
      <dsp:spPr>
        <a:xfrm>
          <a:off x="349304" y="594808"/>
          <a:ext cx="8256396"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294C06B-FBBA-404A-9E35-7BCCE7FE690B}">
      <dsp:nvSpPr>
        <dsp:cNvPr id="0" name=""/>
        <dsp:cNvSpPr/>
      </dsp:nvSpPr>
      <dsp:spPr>
        <a:xfrm>
          <a:off x="3334192" y="33390"/>
          <a:ext cx="4433283" cy="529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l" defTabSz="1155700">
            <a:lnSpc>
              <a:spcPct val="90000"/>
            </a:lnSpc>
            <a:spcBef>
              <a:spcPct val="0"/>
            </a:spcBef>
            <a:spcAft>
              <a:spcPct val="35000"/>
            </a:spcAft>
            <a:buNone/>
          </a:pPr>
          <a:r>
            <a:rPr lang="en-US" sz="2600" kern="1200"/>
            <a:t>Project Kickoff</a:t>
          </a:r>
        </a:p>
      </dsp:txBody>
      <dsp:txXfrm>
        <a:off x="3334192" y="33390"/>
        <a:ext cx="4433283" cy="529899"/>
      </dsp:txXfrm>
    </dsp:sp>
    <dsp:sp modelId="{1B439A7B-644E-4E7D-B764-AA10586D3AFE}">
      <dsp:nvSpPr>
        <dsp:cNvPr id="0" name=""/>
        <dsp:cNvSpPr/>
      </dsp:nvSpPr>
      <dsp:spPr>
        <a:xfrm>
          <a:off x="-349304" y="1873"/>
          <a:ext cx="3543882" cy="592934"/>
        </a:xfrm>
        <a:prstGeom prst="round2SameRect">
          <a:avLst>
            <a:gd name="adj1" fmla="val 16670"/>
            <a:gd name="adj2" fmla="val 0"/>
          </a:avLst>
        </a:prstGeom>
        <a:solidFill>
          <a:schemeClr val="accent6">
            <a:shade val="80000"/>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1244600">
            <a:lnSpc>
              <a:spcPct val="90000"/>
            </a:lnSpc>
            <a:spcBef>
              <a:spcPct val="0"/>
            </a:spcBef>
            <a:spcAft>
              <a:spcPct val="35000"/>
            </a:spcAft>
            <a:buNone/>
          </a:pPr>
          <a:r>
            <a:rPr lang="en-US" sz="2800" kern="1200"/>
            <a:t>May 25, 2021</a:t>
          </a:r>
        </a:p>
      </dsp:txBody>
      <dsp:txXfrm>
        <a:off x="-320354" y="30823"/>
        <a:ext cx="3485982" cy="563984"/>
      </dsp:txXfrm>
    </dsp:sp>
    <dsp:sp modelId="{C50C8A71-A876-4540-959D-51DDC4D737E6}">
      <dsp:nvSpPr>
        <dsp:cNvPr id="0" name=""/>
        <dsp:cNvSpPr/>
      </dsp:nvSpPr>
      <dsp:spPr>
        <a:xfrm>
          <a:off x="3334192" y="655972"/>
          <a:ext cx="4433283" cy="529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l" defTabSz="1155700">
            <a:lnSpc>
              <a:spcPct val="90000"/>
            </a:lnSpc>
            <a:spcBef>
              <a:spcPct val="0"/>
            </a:spcBef>
            <a:spcAft>
              <a:spcPct val="35000"/>
            </a:spcAft>
            <a:buNone/>
          </a:pPr>
          <a:r>
            <a:rPr lang="en-US" sz="2600" kern="1200"/>
            <a:t>Ed-Fi Certification</a:t>
          </a:r>
        </a:p>
      </dsp:txBody>
      <dsp:txXfrm>
        <a:off x="3334192" y="655972"/>
        <a:ext cx="4433283" cy="529899"/>
      </dsp:txXfrm>
    </dsp:sp>
    <dsp:sp modelId="{188C198D-83C5-4746-BC1A-5AAE66446177}">
      <dsp:nvSpPr>
        <dsp:cNvPr id="0" name=""/>
        <dsp:cNvSpPr/>
      </dsp:nvSpPr>
      <dsp:spPr>
        <a:xfrm>
          <a:off x="-349304" y="624454"/>
          <a:ext cx="3543882" cy="592934"/>
        </a:xfrm>
        <a:prstGeom prst="round2SameRect">
          <a:avLst>
            <a:gd name="adj1" fmla="val 16670"/>
            <a:gd name="adj2" fmla="val 0"/>
          </a:avLst>
        </a:prstGeom>
        <a:solidFill>
          <a:schemeClr val="accent6">
            <a:shade val="80000"/>
            <a:hueOff val="127440"/>
            <a:satOff val="-14692"/>
            <a:lumOff val="7230"/>
            <a:alphaOff val="0"/>
          </a:schemeClr>
        </a:solidFill>
        <a:ln w="12700" cap="flat" cmpd="sng" algn="ctr">
          <a:solidFill>
            <a:schemeClr val="accent6">
              <a:shade val="80000"/>
              <a:hueOff val="127440"/>
              <a:satOff val="-14692"/>
              <a:lumOff val="723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1244600">
            <a:lnSpc>
              <a:spcPct val="90000"/>
            </a:lnSpc>
            <a:spcBef>
              <a:spcPct val="0"/>
            </a:spcBef>
            <a:spcAft>
              <a:spcPct val="35000"/>
            </a:spcAft>
            <a:buNone/>
          </a:pPr>
          <a:r>
            <a:rPr lang="en-US" sz="2800" kern="1200"/>
            <a:t>June 1, 2021</a:t>
          </a:r>
        </a:p>
      </dsp:txBody>
      <dsp:txXfrm>
        <a:off x="-320354" y="653404"/>
        <a:ext cx="3485982" cy="563984"/>
      </dsp:txXfrm>
    </dsp:sp>
    <dsp:sp modelId="{02D8E4B1-F27C-44DF-B2CE-A816664ABC18}">
      <dsp:nvSpPr>
        <dsp:cNvPr id="0" name=""/>
        <dsp:cNvSpPr/>
      </dsp:nvSpPr>
      <dsp:spPr>
        <a:xfrm>
          <a:off x="3334192" y="1278553"/>
          <a:ext cx="4433283" cy="529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l" defTabSz="1155700">
            <a:lnSpc>
              <a:spcPct val="90000"/>
            </a:lnSpc>
            <a:spcBef>
              <a:spcPct val="0"/>
            </a:spcBef>
            <a:spcAft>
              <a:spcPct val="35000"/>
            </a:spcAft>
            <a:buNone/>
          </a:pPr>
          <a:r>
            <a:rPr lang="en-US" sz="2600" kern="1200"/>
            <a:t>Architecture and Design</a:t>
          </a:r>
        </a:p>
      </dsp:txBody>
      <dsp:txXfrm>
        <a:off x="3334192" y="1278553"/>
        <a:ext cx="4433283" cy="529899"/>
      </dsp:txXfrm>
    </dsp:sp>
    <dsp:sp modelId="{26FBCCFE-CC7E-4F3E-AB40-BCC316AF4227}">
      <dsp:nvSpPr>
        <dsp:cNvPr id="0" name=""/>
        <dsp:cNvSpPr/>
      </dsp:nvSpPr>
      <dsp:spPr>
        <a:xfrm>
          <a:off x="-349304" y="1247036"/>
          <a:ext cx="3543882" cy="592934"/>
        </a:xfrm>
        <a:prstGeom prst="round2SameRect">
          <a:avLst>
            <a:gd name="adj1" fmla="val 16670"/>
            <a:gd name="adj2" fmla="val 0"/>
          </a:avLst>
        </a:prstGeom>
        <a:solidFill>
          <a:schemeClr val="accent6">
            <a:shade val="80000"/>
            <a:hueOff val="254881"/>
            <a:satOff val="-29384"/>
            <a:lumOff val="14461"/>
            <a:alphaOff val="0"/>
          </a:schemeClr>
        </a:solidFill>
        <a:ln w="12700" cap="flat" cmpd="sng" algn="ctr">
          <a:solidFill>
            <a:schemeClr val="accent6">
              <a:shade val="80000"/>
              <a:hueOff val="254881"/>
              <a:satOff val="-29384"/>
              <a:lumOff val="1446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435" tIns="51435" rIns="51435" bIns="51435" numCol="1" spcCol="1270" anchor="ctr" anchorCtr="0">
          <a:noAutofit/>
        </a:bodyPr>
        <a:lstStyle/>
        <a:p>
          <a:pPr marL="0" lvl="0" indent="0" algn="ctr" defTabSz="1200150">
            <a:lnSpc>
              <a:spcPct val="90000"/>
            </a:lnSpc>
            <a:spcBef>
              <a:spcPct val="0"/>
            </a:spcBef>
            <a:spcAft>
              <a:spcPct val="35000"/>
            </a:spcAft>
            <a:buNone/>
          </a:pPr>
          <a:r>
            <a:rPr lang="en-US" sz="2700" kern="1200"/>
            <a:t>August 30, 2021</a:t>
          </a:r>
        </a:p>
      </dsp:txBody>
      <dsp:txXfrm>
        <a:off x="-320354" y="1275986"/>
        <a:ext cx="3485982" cy="563984"/>
      </dsp:txXfrm>
    </dsp:sp>
    <dsp:sp modelId="{A167980C-A418-4750-94A1-D37F749A9D6D}">
      <dsp:nvSpPr>
        <dsp:cNvPr id="0" name=""/>
        <dsp:cNvSpPr/>
      </dsp:nvSpPr>
      <dsp:spPr>
        <a:xfrm>
          <a:off x="3334192" y="1901135"/>
          <a:ext cx="4433283" cy="529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l" defTabSz="1155700">
            <a:lnSpc>
              <a:spcPct val="90000"/>
            </a:lnSpc>
            <a:spcBef>
              <a:spcPct val="0"/>
            </a:spcBef>
            <a:spcAft>
              <a:spcPct val="35000"/>
            </a:spcAft>
            <a:buNone/>
          </a:pPr>
          <a:r>
            <a:rPr lang="en-US" sz="2600" kern="1200"/>
            <a:t>Texas Education Data Standards</a:t>
          </a:r>
        </a:p>
      </dsp:txBody>
      <dsp:txXfrm>
        <a:off x="3334192" y="1901135"/>
        <a:ext cx="4433283" cy="529899"/>
      </dsp:txXfrm>
    </dsp:sp>
    <dsp:sp modelId="{69B19438-797E-4333-B71A-EB9D2C21A69B}">
      <dsp:nvSpPr>
        <dsp:cNvPr id="0" name=""/>
        <dsp:cNvSpPr/>
      </dsp:nvSpPr>
      <dsp:spPr>
        <a:xfrm>
          <a:off x="-349304" y="1869617"/>
          <a:ext cx="3543882" cy="592934"/>
        </a:xfrm>
        <a:prstGeom prst="round2SameRect">
          <a:avLst>
            <a:gd name="adj1" fmla="val 16670"/>
            <a:gd name="adj2" fmla="val 0"/>
          </a:avLst>
        </a:prstGeom>
        <a:solidFill>
          <a:schemeClr val="accent6">
            <a:shade val="80000"/>
            <a:hueOff val="382321"/>
            <a:satOff val="-44076"/>
            <a:lumOff val="21691"/>
            <a:alphaOff val="0"/>
          </a:schemeClr>
        </a:solidFill>
        <a:ln w="12700" cap="flat" cmpd="sng" algn="ctr">
          <a:solidFill>
            <a:schemeClr val="accent6">
              <a:shade val="80000"/>
              <a:hueOff val="382321"/>
              <a:satOff val="-44076"/>
              <a:lumOff val="2169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155700">
            <a:lnSpc>
              <a:spcPct val="90000"/>
            </a:lnSpc>
            <a:spcBef>
              <a:spcPct val="0"/>
            </a:spcBef>
            <a:spcAft>
              <a:spcPct val="35000"/>
            </a:spcAft>
            <a:buNone/>
          </a:pPr>
          <a:r>
            <a:rPr lang="en-US" sz="2600" kern="1200"/>
            <a:t>September 29, 2021</a:t>
          </a:r>
        </a:p>
      </dsp:txBody>
      <dsp:txXfrm>
        <a:off x="-320354" y="1898567"/>
        <a:ext cx="3485982" cy="563984"/>
      </dsp:txXfrm>
    </dsp:sp>
    <dsp:sp modelId="{31C26570-D429-4329-B2B8-4135B85D8DBA}">
      <dsp:nvSpPr>
        <dsp:cNvPr id="0" name=""/>
        <dsp:cNvSpPr/>
      </dsp:nvSpPr>
      <dsp:spPr>
        <a:xfrm>
          <a:off x="3334192" y="2523716"/>
          <a:ext cx="4433283" cy="529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7625" tIns="47625" rIns="47625" bIns="47625" numCol="1" spcCol="1270" anchor="b" anchorCtr="0">
          <a:noAutofit/>
        </a:bodyPr>
        <a:lstStyle/>
        <a:p>
          <a:pPr marL="0" lvl="0" indent="0" algn="l" defTabSz="1111250">
            <a:lnSpc>
              <a:spcPct val="90000"/>
            </a:lnSpc>
            <a:spcBef>
              <a:spcPct val="0"/>
            </a:spcBef>
            <a:spcAft>
              <a:spcPct val="35000"/>
            </a:spcAft>
            <a:buNone/>
          </a:pPr>
          <a:r>
            <a:rPr lang="en-US" sz="2500" kern="1200"/>
            <a:t>Software Development Kit </a:t>
          </a:r>
        </a:p>
      </dsp:txBody>
      <dsp:txXfrm>
        <a:off x="3334192" y="2523716"/>
        <a:ext cx="4433283" cy="529899"/>
      </dsp:txXfrm>
    </dsp:sp>
    <dsp:sp modelId="{D13FC151-79B5-41BD-AFF5-8D3EB17E3213}">
      <dsp:nvSpPr>
        <dsp:cNvPr id="0" name=""/>
        <dsp:cNvSpPr/>
      </dsp:nvSpPr>
      <dsp:spPr>
        <a:xfrm>
          <a:off x="-349304" y="2492199"/>
          <a:ext cx="3543882" cy="592934"/>
        </a:xfrm>
        <a:prstGeom prst="round2SameRect">
          <a:avLst>
            <a:gd name="adj1" fmla="val 16670"/>
            <a:gd name="adj2" fmla="val 0"/>
          </a:avLst>
        </a:prstGeom>
        <a:solidFill>
          <a:schemeClr val="accent6">
            <a:shade val="80000"/>
            <a:hueOff val="509761"/>
            <a:satOff val="-58767"/>
            <a:lumOff val="28922"/>
            <a:alphaOff val="0"/>
          </a:schemeClr>
        </a:solidFill>
        <a:ln w="12700" cap="flat" cmpd="sng" algn="ctr">
          <a:solidFill>
            <a:schemeClr val="accent6">
              <a:shade val="80000"/>
              <a:hueOff val="509761"/>
              <a:satOff val="-58767"/>
              <a:lumOff val="2892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625" tIns="47625" rIns="47625" bIns="47625" numCol="1" spcCol="1270" anchor="ctr" anchorCtr="0">
          <a:noAutofit/>
        </a:bodyPr>
        <a:lstStyle/>
        <a:p>
          <a:pPr marL="0" lvl="0" indent="0" algn="ctr" defTabSz="1111250">
            <a:lnSpc>
              <a:spcPct val="90000"/>
            </a:lnSpc>
            <a:spcBef>
              <a:spcPct val="0"/>
            </a:spcBef>
            <a:spcAft>
              <a:spcPct val="35000"/>
            </a:spcAft>
            <a:buNone/>
          </a:pPr>
          <a:r>
            <a:rPr lang="en-US" sz="2500" kern="1200"/>
            <a:t>December 8, 2021</a:t>
          </a:r>
        </a:p>
      </dsp:txBody>
      <dsp:txXfrm>
        <a:off x="-320354" y="2521149"/>
        <a:ext cx="3485982" cy="563984"/>
      </dsp:txXfrm>
    </dsp:sp>
    <dsp:sp modelId="{C9AB0FCB-74B5-4D94-B9D6-78D51F82658A}">
      <dsp:nvSpPr>
        <dsp:cNvPr id="0" name=""/>
        <dsp:cNvSpPr/>
      </dsp:nvSpPr>
      <dsp:spPr>
        <a:xfrm>
          <a:off x="3334192" y="3146297"/>
          <a:ext cx="4433283" cy="529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7625" tIns="47625" rIns="47625" bIns="47625" numCol="1" spcCol="1270" anchor="b" anchorCtr="0">
          <a:noAutofit/>
        </a:bodyPr>
        <a:lstStyle/>
        <a:p>
          <a:pPr marL="0" lvl="0" indent="0" algn="l" defTabSz="1111250">
            <a:lnSpc>
              <a:spcPct val="90000"/>
            </a:lnSpc>
            <a:spcBef>
              <a:spcPct val="0"/>
            </a:spcBef>
            <a:spcAft>
              <a:spcPct val="35000"/>
            </a:spcAft>
            <a:buNone/>
          </a:pPr>
          <a:r>
            <a:rPr lang="en-US" sz="2500" kern="1200"/>
            <a:t>Pilot Vendor Cohort</a:t>
          </a:r>
        </a:p>
      </dsp:txBody>
      <dsp:txXfrm>
        <a:off x="3334192" y="3146297"/>
        <a:ext cx="4433283" cy="529899"/>
      </dsp:txXfrm>
    </dsp:sp>
    <dsp:sp modelId="{8DC9D307-00AA-4A9F-B943-5F204ABDA995}">
      <dsp:nvSpPr>
        <dsp:cNvPr id="0" name=""/>
        <dsp:cNvSpPr/>
      </dsp:nvSpPr>
      <dsp:spPr>
        <a:xfrm>
          <a:off x="-349304" y="3114780"/>
          <a:ext cx="3543882" cy="592934"/>
        </a:xfrm>
        <a:prstGeom prst="round2SameRect">
          <a:avLst>
            <a:gd name="adj1" fmla="val 16670"/>
            <a:gd name="adj2" fmla="val 0"/>
          </a:avLst>
        </a:prstGeom>
        <a:solidFill>
          <a:schemeClr val="accent6">
            <a:shade val="80000"/>
            <a:hueOff val="637202"/>
            <a:satOff val="-73459"/>
            <a:lumOff val="36152"/>
            <a:alphaOff val="0"/>
          </a:schemeClr>
        </a:solidFill>
        <a:ln w="12700" cap="flat" cmpd="sng" algn="ctr">
          <a:solidFill>
            <a:schemeClr val="accent6">
              <a:shade val="80000"/>
              <a:hueOff val="637202"/>
              <a:satOff val="-73459"/>
              <a:lumOff val="3615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625" tIns="47625" rIns="47625" bIns="47625" numCol="1" spcCol="1270" anchor="ctr" anchorCtr="0">
          <a:noAutofit/>
        </a:bodyPr>
        <a:lstStyle/>
        <a:p>
          <a:pPr marL="0" lvl="0" indent="0" algn="ctr" defTabSz="1111250">
            <a:lnSpc>
              <a:spcPct val="90000"/>
            </a:lnSpc>
            <a:spcBef>
              <a:spcPct val="0"/>
            </a:spcBef>
            <a:spcAft>
              <a:spcPct val="35000"/>
            </a:spcAft>
            <a:buNone/>
          </a:pPr>
          <a:r>
            <a:rPr lang="en-US" sz="2500" kern="1200"/>
            <a:t>February 7, 2022</a:t>
          </a:r>
        </a:p>
      </dsp:txBody>
      <dsp:txXfrm>
        <a:off x="-320354" y="3143730"/>
        <a:ext cx="3485982" cy="563984"/>
      </dsp:txXfrm>
    </dsp:sp>
    <dsp:sp modelId="{0EAEA6F8-8D35-46B4-BB2C-752999737932}">
      <dsp:nvSpPr>
        <dsp:cNvPr id="0" name=""/>
        <dsp:cNvSpPr/>
      </dsp:nvSpPr>
      <dsp:spPr>
        <a:xfrm>
          <a:off x="3321667" y="3737361"/>
          <a:ext cx="4458333" cy="5929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7625" tIns="47625" rIns="47625" bIns="47625" numCol="1" spcCol="1270" anchor="b" anchorCtr="0">
          <a:noAutofit/>
        </a:bodyPr>
        <a:lstStyle/>
        <a:p>
          <a:pPr marL="0" lvl="0" indent="0" algn="l" defTabSz="1111250">
            <a:lnSpc>
              <a:spcPct val="90000"/>
            </a:lnSpc>
            <a:spcBef>
              <a:spcPct val="0"/>
            </a:spcBef>
            <a:spcAft>
              <a:spcPct val="35000"/>
            </a:spcAft>
            <a:buNone/>
          </a:pPr>
          <a:r>
            <a:rPr lang="en-US" sz="2500" i="1" kern="1200"/>
            <a:t>Next Scheduled Webinar </a:t>
          </a:r>
        </a:p>
      </dsp:txBody>
      <dsp:txXfrm>
        <a:off x="3321667" y="3737361"/>
        <a:ext cx="4458333" cy="592934"/>
      </dsp:txXfrm>
    </dsp:sp>
    <dsp:sp modelId="{0735FCEE-C2CB-48FE-AAB1-B4CDD852BA54}">
      <dsp:nvSpPr>
        <dsp:cNvPr id="0" name=""/>
        <dsp:cNvSpPr/>
      </dsp:nvSpPr>
      <dsp:spPr>
        <a:xfrm>
          <a:off x="-349304" y="3737361"/>
          <a:ext cx="3543882" cy="592934"/>
        </a:xfrm>
        <a:prstGeom prst="round2SameRect">
          <a:avLst>
            <a:gd name="adj1" fmla="val 16670"/>
            <a:gd name="adj2" fmla="val 0"/>
          </a:avLst>
        </a:prstGeom>
        <a:solidFill>
          <a:schemeClr val="accent6">
            <a:shade val="80000"/>
            <a:hueOff val="764642"/>
            <a:satOff val="-88151"/>
            <a:lumOff val="43383"/>
            <a:alphaOff val="0"/>
          </a:schemeClr>
        </a:solidFill>
        <a:ln w="12700" cap="flat" cmpd="sng" algn="ctr">
          <a:solidFill>
            <a:schemeClr val="accent6">
              <a:shade val="80000"/>
              <a:hueOff val="764642"/>
              <a:satOff val="-88151"/>
              <a:lumOff val="4338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625" tIns="47625" rIns="47625" bIns="47625" numCol="1" spcCol="1270" anchor="ctr" anchorCtr="0">
          <a:noAutofit/>
        </a:bodyPr>
        <a:lstStyle/>
        <a:p>
          <a:pPr marL="0" lvl="0" indent="0" algn="ctr" defTabSz="1111250">
            <a:lnSpc>
              <a:spcPct val="90000"/>
            </a:lnSpc>
            <a:spcBef>
              <a:spcPct val="0"/>
            </a:spcBef>
            <a:spcAft>
              <a:spcPct val="35000"/>
            </a:spcAft>
            <a:buNone/>
          </a:pPr>
          <a:r>
            <a:rPr lang="en-US" sz="2500" kern="1200"/>
            <a:t>April 6, 2022</a:t>
          </a:r>
        </a:p>
      </dsp:txBody>
      <dsp:txXfrm>
        <a:off x="-320354" y="3766311"/>
        <a:ext cx="3485982" cy="56398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54DD2B-1023-49B6-9ADB-B670722D13DF}">
      <dsp:nvSpPr>
        <dsp:cNvPr id="0" name=""/>
        <dsp:cNvSpPr/>
      </dsp:nvSpPr>
      <dsp:spPr>
        <a:xfrm>
          <a:off x="0" y="4405047"/>
          <a:ext cx="997970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EA9E6E5-305D-4627-B9DF-047B975D2939}">
      <dsp:nvSpPr>
        <dsp:cNvPr id="0" name=""/>
        <dsp:cNvSpPr/>
      </dsp:nvSpPr>
      <dsp:spPr>
        <a:xfrm>
          <a:off x="0" y="2542043"/>
          <a:ext cx="997970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F211440-F275-4583-B7F4-D1534DD8E693}">
      <dsp:nvSpPr>
        <dsp:cNvPr id="0" name=""/>
        <dsp:cNvSpPr/>
      </dsp:nvSpPr>
      <dsp:spPr>
        <a:xfrm>
          <a:off x="0" y="542896"/>
          <a:ext cx="997970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3D61281-825A-4ECE-8431-50E8AB462F18}">
      <dsp:nvSpPr>
        <dsp:cNvPr id="0" name=""/>
        <dsp:cNvSpPr/>
      </dsp:nvSpPr>
      <dsp:spPr>
        <a:xfrm>
          <a:off x="2594724" y="4477"/>
          <a:ext cx="7384985" cy="5384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1435" tIns="51435" rIns="51435" bIns="51435" numCol="1" spcCol="1270" anchor="b" anchorCtr="0">
          <a:noAutofit/>
        </a:bodyPr>
        <a:lstStyle/>
        <a:p>
          <a:pPr marL="0" lvl="0" indent="0" algn="l" defTabSz="1200150">
            <a:lnSpc>
              <a:spcPct val="100000"/>
            </a:lnSpc>
            <a:spcBef>
              <a:spcPct val="0"/>
            </a:spcBef>
            <a:spcAft>
              <a:spcPct val="35000"/>
            </a:spcAft>
            <a:buNone/>
          </a:pPr>
          <a:r>
            <a:rPr lang="en-US" sz="2700" kern="1200"/>
            <a:t>  </a:t>
          </a:r>
        </a:p>
      </dsp:txBody>
      <dsp:txXfrm>
        <a:off x="2594724" y="4477"/>
        <a:ext cx="7384985" cy="538418"/>
      </dsp:txXfrm>
    </dsp:sp>
    <dsp:sp modelId="{B8E23B32-295B-4DDF-85ED-9B2933CA4EB6}">
      <dsp:nvSpPr>
        <dsp:cNvPr id="0" name=""/>
        <dsp:cNvSpPr/>
      </dsp:nvSpPr>
      <dsp:spPr>
        <a:xfrm>
          <a:off x="0" y="4477"/>
          <a:ext cx="2594724" cy="538418"/>
        </a:xfrm>
        <a:prstGeom prst="round2SameRect">
          <a:avLst>
            <a:gd name="adj1" fmla="val 16670"/>
            <a:gd name="adj2" fmla="val 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1244600">
            <a:lnSpc>
              <a:spcPct val="90000"/>
            </a:lnSpc>
            <a:spcBef>
              <a:spcPct val="0"/>
            </a:spcBef>
            <a:spcAft>
              <a:spcPct val="35000"/>
            </a:spcAft>
            <a:buNone/>
          </a:pPr>
          <a:r>
            <a:rPr lang="en-US" sz="2800" kern="1200"/>
            <a:t>OBJECTIVE</a:t>
          </a:r>
        </a:p>
      </dsp:txBody>
      <dsp:txXfrm>
        <a:off x="26288" y="30765"/>
        <a:ext cx="2542148" cy="512130"/>
      </dsp:txXfrm>
    </dsp:sp>
    <dsp:sp modelId="{EC5DF9EE-8AB9-42B0-9F82-BEB6DDF28D26}">
      <dsp:nvSpPr>
        <dsp:cNvPr id="0" name=""/>
        <dsp:cNvSpPr/>
      </dsp:nvSpPr>
      <dsp:spPr>
        <a:xfrm>
          <a:off x="0" y="542896"/>
          <a:ext cx="9979709" cy="14338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100000"/>
            </a:lnSpc>
            <a:spcBef>
              <a:spcPct val="0"/>
            </a:spcBef>
            <a:spcAft>
              <a:spcPct val="15000"/>
            </a:spcAft>
            <a:buChar char="•"/>
          </a:pPr>
          <a:r>
            <a:rPr lang="en-US" sz="2000" kern="1200"/>
            <a:t>Verification of Production data being published to Landing Zone and promoted through TSDS</a:t>
          </a:r>
        </a:p>
        <a:p>
          <a:pPr marL="228600" lvl="1" indent="-228600" algn="l" defTabSz="889000">
            <a:lnSpc>
              <a:spcPct val="100000"/>
            </a:lnSpc>
            <a:spcBef>
              <a:spcPct val="0"/>
            </a:spcBef>
            <a:spcAft>
              <a:spcPct val="15000"/>
            </a:spcAft>
            <a:buChar char="•"/>
          </a:pPr>
          <a:r>
            <a:rPr lang="en-US" sz="2000" kern="1200"/>
            <a:t>Validation of the user experience for the Data Hub application </a:t>
          </a:r>
        </a:p>
        <a:p>
          <a:pPr marL="228600" lvl="1" indent="-228600" algn="l" defTabSz="889000">
            <a:lnSpc>
              <a:spcPct val="100000"/>
            </a:lnSpc>
            <a:spcBef>
              <a:spcPct val="0"/>
            </a:spcBef>
            <a:spcAft>
              <a:spcPct val="15000"/>
            </a:spcAft>
            <a:buChar char="•"/>
          </a:pPr>
          <a:r>
            <a:rPr lang="en-US" sz="2000" kern="1200"/>
            <a:t>Confirmation of business rules for PEIMS Fall, Class Roster, and Child Find</a:t>
          </a:r>
        </a:p>
      </dsp:txBody>
      <dsp:txXfrm>
        <a:off x="0" y="542896"/>
        <a:ext cx="9979709" cy="1433808"/>
      </dsp:txXfrm>
    </dsp:sp>
    <dsp:sp modelId="{AEE8CF64-2D88-45F8-BCAC-860D7A630D12}">
      <dsp:nvSpPr>
        <dsp:cNvPr id="0" name=""/>
        <dsp:cNvSpPr/>
      </dsp:nvSpPr>
      <dsp:spPr>
        <a:xfrm>
          <a:off x="2594724" y="2003625"/>
          <a:ext cx="7384985" cy="5384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1435" tIns="51435" rIns="51435" bIns="51435" numCol="1" spcCol="1270" anchor="b" anchorCtr="0">
          <a:noAutofit/>
        </a:bodyPr>
        <a:lstStyle/>
        <a:p>
          <a:pPr marL="0" lvl="0" indent="0" algn="l" defTabSz="1200150">
            <a:lnSpc>
              <a:spcPct val="100000"/>
            </a:lnSpc>
            <a:spcBef>
              <a:spcPct val="0"/>
            </a:spcBef>
            <a:spcAft>
              <a:spcPct val="35000"/>
            </a:spcAft>
            <a:buNone/>
          </a:pPr>
          <a:r>
            <a:rPr lang="en-US" sz="2700" kern="1200"/>
            <a:t>  </a:t>
          </a:r>
        </a:p>
      </dsp:txBody>
      <dsp:txXfrm>
        <a:off x="2594724" y="2003625"/>
        <a:ext cx="7384985" cy="538418"/>
      </dsp:txXfrm>
    </dsp:sp>
    <dsp:sp modelId="{E7ECDBFA-6653-42C1-A1A3-2A51389B6005}">
      <dsp:nvSpPr>
        <dsp:cNvPr id="0" name=""/>
        <dsp:cNvSpPr/>
      </dsp:nvSpPr>
      <dsp:spPr>
        <a:xfrm>
          <a:off x="0" y="2003625"/>
          <a:ext cx="2594724" cy="538418"/>
        </a:xfrm>
        <a:prstGeom prst="round2SameRect">
          <a:avLst>
            <a:gd name="adj1" fmla="val 16670"/>
            <a:gd name="adj2" fmla="val 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1244600">
            <a:lnSpc>
              <a:spcPct val="90000"/>
            </a:lnSpc>
            <a:spcBef>
              <a:spcPct val="0"/>
            </a:spcBef>
            <a:spcAft>
              <a:spcPct val="35000"/>
            </a:spcAft>
            <a:buNone/>
          </a:pPr>
          <a:r>
            <a:rPr lang="en-US" sz="2800" kern="1200"/>
            <a:t>PARTICIPATION</a:t>
          </a:r>
        </a:p>
      </dsp:txBody>
      <dsp:txXfrm>
        <a:off x="26288" y="2029913"/>
        <a:ext cx="2542148" cy="512130"/>
      </dsp:txXfrm>
    </dsp:sp>
    <dsp:sp modelId="{3132E146-6FD6-4B8D-85BC-0F17BF11EE28}">
      <dsp:nvSpPr>
        <dsp:cNvPr id="0" name=""/>
        <dsp:cNvSpPr/>
      </dsp:nvSpPr>
      <dsp:spPr>
        <a:xfrm>
          <a:off x="0" y="2542043"/>
          <a:ext cx="9979709" cy="12976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100000"/>
            </a:lnSpc>
            <a:spcBef>
              <a:spcPct val="0"/>
            </a:spcBef>
            <a:spcAft>
              <a:spcPct val="15000"/>
            </a:spcAft>
            <a:buChar char="•"/>
          </a:pPr>
          <a:r>
            <a:rPr lang="en-US" sz="2000" kern="1200"/>
            <a:t>Pilot Vendor Cohort: six pilot vendors </a:t>
          </a:r>
        </a:p>
        <a:p>
          <a:pPr marL="228600" lvl="1" indent="-228600" algn="l" defTabSz="889000">
            <a:lnSpc>
              <a:spcPct val="100000"/>
            </a:lnSpc>
            <a:spcBef>
              <a:spcPct val="0"/>
            </a:spcBef>
            <a:spcAft>
              <a:spcPct val="15000"/>
            </a:spcAft>
            <a:buChar char="•"/>
          </a:pPr>
          <a:r>
            <a:rPr lang="en-US" sz="2000" kern="1200"/>
            <a:t>One or more LEAs for each vendor product being piloted</a:t>
          </a:r>
        </a:p>
      </dsp:txBody>
      <dsp:txXfrm>
        <a:off x="0" y="2542043"/>
        <a:ext cx="9979709" cy="1297664"/>
      </dsp:txXfrm>
    </dsp:sp>
    <dsp:sp modelId="{46407045-E0D2-4F15-BEB1-71DF3F9BB629}">
      <dsp:nvSpPr>
        <dsp:cNvPr id="0" name=""/>
        <dsp:cNvSpPr/>
      </dsp:nvSpPr>
      <dsp:spPr>
        <a:xfrm>
          <a:off x="2594724" y="3866629"/>
          <a:ext cx="7384985" cy="5384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1435" tIns="51435" rIns="51435" bIns="51435" numCol="1" spcCol="1270" anchor="b" anchorCtr="0">
          <a:noAutofit/>
        </a:bodyPr>
        <a:lstStyle/>
        <a:p>
          <a:pPr marL="0" lvl="0" indent="0" algn="l" defTabSz="1200150">
            <a:lnSpc>
              <a:spcPct val="100000"/>
            </a:lnSpc>
            <a:spcBef>
              <a:spcPct val="0"/>
            </a:spcBef>
            <a:spcAft>
              <a:spcPct val="35000"/>
            </a:spcAft>
            <a:buNone/>
          </a:pPr>
          <a:r>
            <a:rPr lang="en-US" sz="2700" kern="1200"/>
            <a:t>  </a:t>
          </a:r>
        </a:p>
      </dsp:txBody>
      <dsp:txXfrm>
        <a:off x="2594724" y="3866629"/>
        <a:ext cx="7384985" cy="538418"/>
      </dsp:txXfrm>
    </dsp:sp>
    <dsp:sp modelId="{503CB015-3EB7-4A96-9B00-0E233D038D50}">
      <dsp:nvSpPr>
        <dsp:cNvPr id="0" name=""/>
        <dsp:cNvSpPr/>
      </dsp:nvSpPr>
      <dsp:spPr>
        <a:xfrm>
          <a:off x="0" y="3866629"/>
          <a:ext cx="2594724" cy="538418"/>
        </a:xfrm>
        <a:prstGeom prst="round2SameRect">
          <a:avLst>
            <a:gd name="adj1" fmla="val 16670"/>
            <a:gd name="adj2" fmla="val 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1244600">
            <a:lnSpc>
              <a:spcPct val="90000"/>
            </a:lnSpc>
            <a:spcBef>
              <a:spcPct val="0"/>
            </a:spcBef>
            <a:spcAft>
              <a:spcPct val="35000"/>
            </a:spcAft>
            <a:buNone/>
          </a:pPr>
          <a:r>
            <a:rPr lang="en-US" sz="2800" kern="1200"/>
            <a:t>LEA PARTNERS</a:t>
          </a:r>
        </a:p>
      </dsp:txBody>
      <dsp:txXfrm>
        <a:off x="26288" y="3892917"/>
        <a:ext cx="2542148" cy="512130"/>
      </dsp:txXfrm>
    </dsp:sp>
    <dsp:sp modelId="{CF5372AA-77ED-48EF-8979-11D3D152BA4C}">
      <dsp:nvSpPr>
        <dsp:cNvPr id="0" name=""/>
        <dsp:cNvSpPr/>
      </dsp:nvSpPr>
      <dsp:spPr>
        <a:xfrm>
          <a:off x="0" y="4405047"/>
          <a:ext cx="9979709" cy="10769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100000"/>
            </a:lnSpc>
            <a:spcBef>
              <a:spcPct val="0"/>
            </a:spcBef>
            <a:spcAft>
              <a:spcPct val="15000"/>
            </a:spcAft>
            <a:buChar char="•"/>
          </a:pPr>
          <a:r>
            <a:rPr lang="en-US" sz="2000" kern="1200"/>
            <a:t>A minimum time commitment for LEAs (approximately 2-4 weeks) </a:t>
          </a:r>
        </a:p>
        <a:p>
          <a:pPr marL="228600" lvl="1" indent="-228600" algn="l" defTabSz="889000">
            <a:lnSpc>
              <a:spcPct val="100000"/>
            </a:lnSpc>
            <a:spcBef>
              <a:spcPct val="0"/>
            </a:spcBef>
            <a:spcAft>
              <a:spcPct val="15000"/>
            </a:spcAft>
            <a:buChar char="•"/>
          </a:pPr>
          <a:r>
            <a:rPr lang="en-US" sz="2000" kern="1200"/>
            <a:t>Testing focused on API transactions and promotions based upon effective dating</a:t>
          </a:r>
        </a:p>
        <a:p>
          <a:pPr marL="228600" lvl="1" indent="-228600" algn="l" defTabSz="889000">
            <a:lnSpc>
              <a:spcPct val="100000"/>
            </a:lnSpc>
            <a:spcBef>
              <a:spcPct val="0"/>
            </a:spcBef>
            <a:spcAft>
              <a:spcPct val="15000"/>
            </a:spcAft>
            <a:buChar char="•"/>
          </a:pPr>
          <a:r>
            <a:rPr lang="en-US" sz="2000" kern="1200"/>
            <a:t>Limited testing of business rule validations based upon data available </a:t>
          </a:r>
        </a:p>
        <a:p>
          <a:pPr marL="171450" lvl="1" indent="-171450" algn="l" defTabSz="800100">
            <a:lnSpc>
              <a:spcPct val="100000"/>
            </a:lnSpc>
            <a:spcBef>
              <a:spcPct val="0"/>
            </a:spcBef>
            <a:spcAft>
              <a:spcPct val="15000"/>
            </a:spcAft>
            <a:buChar char="•"/>
          </a:pPr>
          <a:endParaRPr lang="en-US" sz="1800" kern="1200"/>
        </a:p>
      </dsp:txBody>
      <dsp:txXfrm>
        <a:off x="0" y="4405047"/>
        <a:ext cx="9979709" cy="107699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54DD2B-1023-49B6-9ADB-B670722D13DF}">
      <dsp:nvSpPr>
        <dsp:cNvPr id="0" name=""/>
        <dsp:cNvSpPr/>
      </dsp:nvSpPr>
      <dsp:spPr>
        <a:xfrm>
          <a:off x="0" y="4405047"/>
          <a:ext cx="997970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EA9E6E5-305D-4627-B9DF-047B975D2939}">
      <dsp:nvSpPr>
        <dsp:cNvPr id="0" name=""/>
        <dsp:cNvSpPr/>
      </dsp:nvSpPr>
      <dsp:spPr>
        <a:xfrm>
          <a:off x="0" y="2542043"/>
          <a:ext cx="997970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F211440-F275-4583-B7F4-D1534DD8E693}">
      <dsp:nvSpPr>
        <dsp:cNvPr id="0" name=""/>
        <dsp:cNvSpPr/>
      </dsp:nvSpPr>
      <dsp:spPr>
        <a:xfrm>
          <a:off x="0" y="542896"/>
          <a:ext cx="9979709" cy="0"/>
        </a:xfrm>
        <a:prstGeom prst="line">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3D61281-825A-4ECE-8431-50E8AB462F18}">
      <dsp:nvSpPr>
        <dsp:cNvPr id="0" name=""/>
        <dsp:cNvSpPr/>
      </dsp:nvSpPr>
      <dsp:spPr>
        <a:xfrm>
          <a:off x="2594724" y="4477"/>
          <a:ext cx="7384985" cy="5384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1435" tIns="51435" rIns="51435" bIns="51435" numCol="1" spcCol="1270" anchor="b" anchorCtr="0">
          <a:noAutofit/>
        </a:bodyPr>
        <a:lstStyle/>
        <a:p>
          <a:pPr marL="0" lvl="0" indent="0" algn="l" defTabSz="1200150">
            <a:lnSpc>
              <a:spcPct val="100000"/>
            </a:lnSpc>
            <a:spcBef>
              <a:spcPct val="0"/>
            </a:spcBef>
            <a:spcAft>
              <a:spcPct val="35000"/>
            </a:spcAft>
            <a:buNone/>
          </a:pPr>
          <a:r>
            <a:rPr lang="en-US" sz="2700" kern="1200"/>
            <a:t>  </a:t>
          </a:r>
        </a:p>
      </dsp:txBody>
      <dsp:txXfrm>
        <a:off x="2594724" y="4477"/>
        <a:ext cx="7384985" cy="538418"/>
      </dsp:txXfrm>
    </dsp:sp>
    <dsp:sp modelId="{B8E23B32-295B-4DDF-85ED-9B2933CA4EB6}">
      <dsp:nvSpPr>
        <dsp:cNvPr id="0" name=""/>
        <dsp:cNvSpPr/>
      </dsp:nvSpPr>
      <dsp:spPr>
        <a:xfrm>
          <a:off x="0" y="4477"/>
          <a:ext cx="2594724" cy="538418"/>
        </a:xfrm>
        <a:prstGeom prst="round2SameRect">
          <a:avLst>
            <a:gd name="adj1" fmla="val 16670"/>
            <a:gd name="adj2" fmla="val 0"/>
          </a:avLst>
        </a:prstGeom>
        <a:solidFill>
          <a:srgbClr val="F48668"/>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l" defTabSz="933450">
            <a:lnSpc>
              <a:spcPct val="90000"/>
            </a:lnSpc>
            <a:spcBef>
              <a:spcPct val="0"/>
            </a:spcBef>
            <a:spcAft>
              <a:spcPct val="35000"/>
            </a:spcAft>
            <a:buNone/>
          </a:pPr>
          <a:r>
            <a:rPr lang="en-US" sz="2100" kern="1200"/>
            <a:t>OBJECTIVE</a:t>
          </a:r>
        </a:p>
      </dsp:txBody>
      <dsp:txXfrm>
        <a:off x="26288" y="30765"/>
        <a:ext cx="2542148" cy="512130"/>
      </dsp:txXfrm>
    </dsp:sp>
    <dsp:sp modelId="{EC5DF9EE-8AB9-42B0-9F82-BEB6DDF28D26}">
      <dsp:nvSpPr>
        <dsp:cNvPr id="0" name=""/>
        <dsp:cNvSpPr/>
      </dsp:nvSpPr>
      <dsp:spPr>
        <a:xfrm>
          <a:off x="0" y="542896"/>
          <a:ext cx="9979709" cy="14338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rtl="0">
            <a:lnSpc>
              <a:spcPct val="100000"/>
            </a:lnSpc>
            <a:spcBef>
              <a:spcPct val="0"/>
            </a:spcBef>
            <a:spcAft>
              <a:spcPct val="15000"/>
            </a:spcAft>
            <a:buChar char="•"/>
          </a:pPr>
          <a:r>
            <a:rPr lang="en-US" sz="2000" kern="1200">
              <a:solidFill>
                <a:prstClr val="black">
                  <a:hueOff val="0"/>
                  <a:satOff val="0"/>
                  <a:lumOff val="0"/>
                  <a:alphaOff val="0"/>
                </a:prstClr>
              </a:solidFill>
              <a:latin typeface="Calibri" panose="020F0502020204030204"/>
              <a:ea typeface="+mn-ea"/>
              <a:cs typeface="+mn-cs"/>
            </a:rPr>
            <a:t>Ensure vendor readiness with parallel testing of comparing XML against API transactions.</a:t>
          </a:r>
        </a:p>
        <a:p>
          <a:pPr marL="228600" lvl="1" indent="-228600" algn="l" defTabSz="889000" rtl="0">
            <a:lnSpc>
              <a:spcPct val="100000"/>
            </a:lnSpc>
            <a:spcBef>
              <a:spcPct val="0"/>
            </a:spcBef>
            <a:spcAft>
              <a:spcPct val="15000"/>
            </a:spcAft>
            <a:buChar char="•"/>
          </a:pPr>
          <a:r>
            <a:rPr lang="en-US" sz="100" kern="1200">
              <a:solidFill>
                <a:prstClr val="black">
                  <a:hueOff val="0"/>
                  <a:satOff val="0"/>
                  <a:lumOff val="0"/>
                  <a:alphaOff val="0"/>
                </a:prstClr>
              </a:solidFill>
              <a:latin typeface="Calibri" panose="020F0502020204030204"/>
              <a:ea typeface="+mn-ea"/>
              <a:cs typeface="+mn-cs"/>
            </a:rPr>
            <a:t>Vendors will publish necessary API transactions in time for all PEIMS and TSDS submissions</a:t>
          </a:r>
          <a:r>
            <a:rPr lang="en-US" sz="100">
              <a:latin typeface="Calibri"/>
              <a:ea typeface="+mn-ea"/>
              <a:cs typeface="+mn-cs"/>
            </a:rPr>
            <a:t>.</a:t>
          </a:r>
          <a:endParaRPr lang="en-US" sz="100"/>
        </a:p>
        <a:p>
          <a:pPr marL="228600" lvl="1" indent="-228600" algn="l" defTabSz="889000">
            <a:lnSpc>
              <a:spcPct val="100000"/>
            </a:lnSpc>
            <a:spcBef>
              <a:spcPct val="0"/>
            </a:spcBef>
            <a:spcAft>
              <a:spcPct val="15000"/>
            </a:spcAft>
            <a:buChar char="•"/>
          </a:pPr>
          <a:r>
            <a:rPr lang="en-US" sz="2000" kern="1200">
              <a:solidFill>
                <a:prstClr val="black">
                  <a:hueOff val="0"/>
                  <a:satOff val="0"/>
                  <a:lumOff val="0"/>
                  <a:alphaOff val="0"/>
                </a:prstClr>
              </a:solidFill>
              <a:latin typeface="Calibri" panose="020F0502020204030204"/>
              <a:ea typeface="+mn-ea"/>
              <a:cs typeface="+mn-cs"/>
            </a:rPr>
            <a:t>TEA will coordinate with vendors and ESCs to obtain LEA partnership commitments.</a:t>
          </a:r>
        </a:p>
      </dsp:txBody>
      <dsp:txXfrm>
        <a:off x="0" y="542896"/>
        <a:ext cx="9979709" cy="1433808"/>
      </dsp:txXfrm>
    </dsp:sp>
    <dsp:sp modelId="{AEE8CF64-2D88-45F8-BCAC-860D7A630D12}">
      <dsp:nvSpPr>
        <dsp:cNvPr id="0" name=""/>
        <dsp:cNvSpPr/>
      </dsp:nvSpPr>
      <dsp:spPr>
        <a:xfrm>
          <a:off x="2594724" y="2003625"/>
          <a:ext cx="7384985" cy="5384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1435" tIns="51435" rIns="51435" bIns="51435" numCol="1" spcCol="1270" anchor="b" anchorCtr="0">
          <a:noAutofit/>
        </a:bodyPr>
        <a:lstStyle/>
        <a:p>
          <a:pPr marL="0" lvl="0" indent="0" algn="l" defTabSz="1200150">
            <a:lnSpc>
              <a:spcPct val="100000"/>
            </a:lnSpc>
            <a:spcBef>
              <a:spcPct val="0"/>
            </a:spcBef>
            <a:spcAft>
              <a:spcPct val="35000"/>
            </a:spcAft>
            <a:buNone/>
          </a:pPr>
          <a:r>
            <a:rPr lang="en-US" sz="2700" kern="1200"/>
            <a:t>  </a:t>
          </a:r>
        </a:p>
      </dsp:txBody>
      <dsp:txXfrm>
        <a:off x="2594724" y="2003625"/>
        <a:ext cx="7384985" cy="538418"/>
      </dsp:txXfrm>
    </dsp:sp>
    <dsp:sp modelId="{E7ECDBFA-6653-42C1-A1A3-2A51389B6005}">
      <dsp:nvSpPr>
        <dsp:cNvPr id="0" name=""/>
        <dsp:cNvSpPr/>
      </dsp:nvSpPr>
      <dsp:spPr>
        <a:xfrm>
          <a:off x="0" y="2003625"/>
          <a:ext cx="2594724" cy="538418"/>
        </a:xfrm>
        <a:prstGeom prst="round2SameRect">
          <a:avLst>
            <a:gd name="adj1" fmla="val 16670"/>
            <a:gd name="adj2" fmla="val 0"/>
          </a:avLst>
        </a:prstGeom>
        <a:solidFill>
          <a:srgbClr val="F48668"/>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l" defTabSz="933450">
            <a:lnSpc>
              <a:spcPct val="90000"/>
            </a:lnSpc>
            <a:spcBef>
              <a:spcPct val="0"/>
            </a:spcBef>
            <a:spcAft>
              <a:spcPct val="35000"/>
            </a:spcAft>
            <a:buNone/>
          </a:pPr>
          <a:r>
            <a:rPr lang="en-US" sz="2100" kern="1200"/>
            <a:t>PARTICIPATION</a:t>
          </a:r>
        </a:p>
      </dsp:txBody>
      <dsp:txXfrm>
        <a:off x="26288" y="2029913"/>
        <a:ext cx="2542148" cy="512130"/>
      </dsp:txXfrm>
    </dsp:sp>
    <dsp:sp modelId="{3132E146-6FD6-4B8D-85BC-0F17BF11EE28}">
      <dsp:nvSpPr>
        <dsp:cNvPr id="0" name=""/>
        <dsp:cNvSpPr/>
      </dsp:nvSpPr>
      <dsp:spPr>
        <a:xfrm>
          <a:off x="0" y="2542043"/>
          <a:ext cx="9979709" cy="12976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rtl="0">
            <a:lnSpc>
              <a:spcPct val="100000"/>
            </a:lnSpc>
            <a:spcBef>
              <a:spcPct val="0"/>
            </a:spcBef>
            <a:spcAft>
              <a:spcPct val="15000"/>
            </a:spcAft>
            <a:buChar char="•"/>
          </a:pPr>
          <a:r>
            <a:rPr lang="en-US" sz="2000" kern="1200"/>
            <a:t>All vendors will be required to participate during the parallel submission year</a:t>
          </a:r>
          <a:r>
            <a:rPr lang="en-US" sz="2000" kern="1200">
              <a:latin typeface="Calibri Light" panose="020F0302020204030204"/>
            </a:rPr>
            <a:t>. </a:t>
          </a:r>
          <a:endParaRPr lang="en-US" sz="2000" kern="1200"/>
        </a:p>
        <a:p>
          <a:pPr marL="228600" lvl="1" indent="-228600" algn="l" defTabSz="889000">
            <a:lnSpc>
              <a:spcPct val="100000"/>
            </a:lnSpc>
            <a:spcBef>
              <a:spcPct val="0"/>
            </a:spcBef>
            <a:spcAft>
              <a:spcPct val="15000"/>
            </a:spcAft>
            <a:buChar char="•"/>
          </a:pPr>
          <a:r>
            <a:rPr lang="en-US" sz="2000" kern="1200"/>
            <a:t>Source systems must be ready and updated prior to TSDS submission due dates</a:t>
          </a:r>
          <a:r>
            <a:rPr lang="en-US" sz="2000" kern="1200">
              <a:latin typeface="Calibri Light" panose="020F0302020204030204"/>
            </a:rPr>
            <a:t>.</a:t>
          </a:r>
          <a:endParaRPr lang="en-US" sz="2000" kern="1200"/>
        </a:p>
        <a:p>
          <a:pPr marL="228600" lvl="1" indent="-228600" algn="l" defTabSz="889000">
            <a:lnSpc>
              <a:spcPct val="100000"/>
            </a:lnSpc>
            <a:spcBef>
              <a:spcPct val="0"/>
            </a:spcBef>
            <a:spcAft>
              <a:spcPct val="15000"/>
            </a:spcAft>
            <a:buChar char="•"/>
          </a:pPr>
          <a:r>
            <a:rPr lang="en-US" sz="2000" kern="1200"/>
            <a:t>Participating LEAs may have multiple vendor products (SIS, HR/Finance, ECDS assessment</a:t>
          </a:r>
          <a:r>
            <a:rPr lang="en-US" sz="2000" kern="1200">
              <a:latin typeface="Calibri Light" panose="020F0302020204030204"/>
            </a:rPr>
            <a:t>).</a:t>
          </a:r>
          <a:endParaRPr lang="en-US" sz="2000" kern="1200"/>
        </a:p>
      </dsp:txBody>
      <dsp:txXfrm>
        <a:off x="0" y="2542043"/>
        <a:ext cx="9979709" cy="1297664"/>
      </dsp:txXfrm>
    </dsp:sp>
    <dsp:sp modelId="{46407045-E0D2-4F15-BEB1-71DF3F9BB629}">
      <dsp:nvSpPr>
        <dsp:cNvPr id="0" name=""/>
        <dsp:cNvSpPr/>
      </dsp:nvSpPr>
      <dsp:spPr>
        <a:xfrm>
          <a:off x="2594724" y="3866629"/>
          <a:ext cx="7384985" cy="5384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1435" tIns="51435" rIns="51435" bIns="51435" numCol="1" spcCol="1270" anchor="b" anchorCtr="0">
          <a:noAutofit/>
        </a:bodyPr>
        <a:lstStyle/>
        <a:p>
          <a:pPr marL="0" lvl="0" indent="0" algn="l" defTabSz="1200150">
            <a:lnSpc>
              <a:spcPct val="100000"/>
            </a:lnSpc>
            <a:spcBef>
              <a:spcPct val="0"/>
            </a:spcBef>
            <a:spcAft>
              <a:spcPct val="35000"/>
            </a:spcAft>
            <a:buNone/>
          </a:pPr>
          <a:r>
            <a:rPr lang="en-US" sz="2700" kern="1200"/>
            <a:t>  </a:t>
          </a:r>
        </a:p>
      </dsp:txBody>
      <dsp:txXfrm>
        <a:off x="2594724" y="3866629"/>
        <a:ext cx="7384985" cy="538418"/>
      </dsp:txXfrm>
    </dsp:sp>
    <dsp:sp modelId="{503CB015-3EB7-4A96-9B00-0E233D038D50}">
      <dsp:nvSpPr>
        <dsp:cNvPr id="0" name=""/>
        <dsp:cNvSpPr/>
      </dsp:nvSpPr>
      <dsp:spPr>
        <a:xfrm>
          <a:off x="0" y="3866629"/>
          <a:ext cx="2594724" cy="538418"/>
        </a:xfrm>
        <a:prstGeom prst="round2SameRect">
          <a:avLst>
            <a:gd name="adj1" fmla="val 16670"/>
            <a:gd name="adj2" fmla="val 0"/>
          </a:avLst>
        </a:prstGeom>
        <a:solidFill>
          <a:srgbClr val="F48668"/>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05" tIns="40005" rIns="40005" bIns="40005" numCol="1" spcCol="1270" anchor="ctr" anchorCtr="0">
          <a:noAutofit/>
        </a:bodyPr>
        <a:lstStyle/>
        <a:p>
          <a:pPr marL="0" lvl="0" indent="0" algn="l" defTabSz="933450">
            <a:lnSpc>
              <a:spcPct val="90000"/>
            </a:lnSpc>
            <a:spcBef>
              <a:spcPct val="0"/>
            </a:spcBef>
            <a:spcAft>
              <a:spcPct val="35000"/>
            </a:spcAft>
            <a:buNone/>
          </a:pPr>
          <a:r>
            <a:rPr lang="en-US" sz="2100" kern="1200"/>
            <a:t>TRAINING &amp; SUPPORT</a:t>
          </a:r>
        </a:p>
      </dsp:txBody>
      <dsp:txXfrm>
        <a:off x="26288" y="3892917"/>
        <a:ext cx="2542148" cy="512130"/>
      </dsp:txXfrm>
    </dsp:sp>
    <dsp:sp modelId="{CF5372AA-77ED-48EF-8979-11D3D152BA4C}">
      <dsp:nvSpPr>
        <dsp:cNvPr id="0" name=""/>
        <dsp:cNvSpPr/>
      </dsp:nvSpPr>
      <dsp:spPr>
        <a:xfrm>
          <a:off x="0" y="4405047"/>
          <a:ext cx="9979709" cy="10769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228600" lvl="1" indent="-228600" algn="l" defTabSz="889000">
            <a:lnSpc>
              <a:spcPct val="100000"/>
            </a:lnSpc>
            <a:spcBef>
              <a:spcPct val="0"/>
            </a:spcBef>
            <a:spcAft>
              <a:spcPct val="15000"/>
            </a:spcAft>
            <a:buChar char="•"/>
          </a:pPr>
          <a:r>
            <a:rPr lang="en-US" sz="2000" kern="1200"/>
            <a:t>Vendors are expected to provide training and support for their product solution(s</a:t>
          </a:r>
          <a:r>
            <a:rPr lang="en-US" sz="2000" kern="1200">
              <a:latin typeface="Calibri Light" panose="020F0302020204030204"/>
            </a:rPr>
            <a:t>).</a:t>
          </a:r>
          <a:endParaRPr lang="en-US" sz="2000" kern="1200"/>
        </a:p>
        <a:p>
          <a:pPr marL="228600" lvl="1" indent="-228600" algn="l" defTabSz="889000" rtl="0">
            <a:lnSpc>
              <a:spcPct val="100000"/>
            </a:lnSpc>
            <a:spcBef>
              <a:spcPct val="0"/>
            </a:spcBef>
            <a:spcAft>
              <a:spcPct val="15000"/>
            </a:spcAft>
            <a:buChar char="•"/>
          </a:pPr>
          <a:r>
            <a:rPr lang="en-US" sz="2000" kern="1200"/>
            <a:t>LEAs will be responsible for providing key/secret information to vendors</a:t>
          </a:r>
          <a:r>
            <a:rPr lang="en-US" sz="2000" kern="1200">
              <a:latin typeface="Calibri Light" panose="020F0302020204030204"/>
            </a:rPr>
            <a:t>. </a:t>
          </a:r>
          <a:endParaRPr lang="en-US" sz="2000" kern="1200"/>
        </a:p>
        <a:p>
          <a:pPr marL="228600" lvl="1" indent="-228600" algn="l" defTabSz="889000">
            <a:lnSpc>
              <a:spcPct val="100000"/>
            </a:lnSpc>
            <a:spcBef>
              <a:spcPct val="0"/>
            </a:spcBef>
            <a:spcAft>
              <a:spcPct val="15000"/>
            </a:spcAft>
            <a:buChar char="•"/>
          </a:pPr>
          <a:r>
            <a:rPr lang="en-US" sz="2000" kern="1200"/>
            <a:t>Level 1 validation errors will need to be resolved by vendors in timely manner</a:t>
          </a:r>
          <a:r>
            <a:rPr lang="en-US" sz="2000" kern="1200">
              <a:latin typeface="Calibri Light" panose="020F0302020204030204"/>
            </a:rPr>
            <a:t>.</a:t>
          </a:r>
          <a:endParaRPr lang="en-US" sz="2000" kern="1200"/>
        </a:p>
        <a:p>
          <a:pPr marL="171450" lvl="1" indent="-171450" algn="l" defTabSz="800100">
            <a:lnSpc>
              <a:spcPct val="100000"/>
            </a:lnSpc>
            <a:spcBef>
              <a:spcPct val="0"/>
            </a:spcBef>
            <a:spcAft>
              <a:spcPct val="15000"/>
            </a:spcAft>
            <a:buChar char="•"/>
          </a:pPr>
          <a:endParaRPr lang="en-US" sz="1800" kern="1200"/>
        </a:p>
      </dsp:txBody>
      <dsp:txXfrm>
        <a:off x="0" y="4405047"/>
        <a:ext cx="9979709" cy="107699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DF58FC-58D4-43D7-A7B3-D745C64B976F}">
      <dsp:nvSpPr>
        <dsp:cNvPr id="0" name=""/>
        <dsp:cNvSpPr/>
      </dsp:nvSpPr>
      <dsp:spPr>
        <a:xfrm>
          <a:off x="0" y="0"/>
          <a:ext cx="8988425" cy="152102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a:t>VENDORS </a:t>
          </a:r>
        </a:p>
        <a:p>
          <a:pPr marL="228600" lvl="1" indent="-228600" algn="l" defTabSz="889000">
            <a:lnSpc>
              <a:spcPct val="90000"/>
            </a:lnSpc>
            <a:spcBef>
              <a:spcPct val="0"/>
            </a:spcBef>
            <a:spcAft>
              <a:spcPct val="15000"/>
            </a:spcAft>
            <a:buChar char="•"/>
          </a:pPr>
          <a:r>
            <a:rPr lang="en-US" sz="2000" kern="1200"/>
            <a:t>Provide product solutions, training, and support to LEAs</a:t>
          </a:r>
        </a:p>
        <a:p>
          <a:pPr marL="228600" lvl="1" indent="-228600" algn="l" defTabSz="889000">
            <a:lnSpc>
              <a:spcPct val="90000"/>
            </a:lnSpc>
            <a:spcBef>
              <a:spcPct val="0"/>
            </a:spcBef>
            <a:spcAft>
              <a:spcPct val="15000"/>
            </a:spcAft>
            <a:buChar char="•"/>
          </a:pPr>
          <a:r>
            <a:rPr lang="en-US" sz="2000" kern="1200"/>
            <a:t>Obtain Ed-Fi certification and TSDS Compatible Designation</a:t>
          </a:r>
        </a:p>
      </dsp:txBody>
      <dsp:txXfrm>
        <a:off x="1949787" y="0"/>
        <a:ext cx="7038637" cy="1521023"/>
      </dsp:txXfrm>
    </dsp:sp>
    <dsp:sp modelId="{DF0517AE-8196-4038-B391-98EB2A934C8E}">
      <dsp:nvSpPr>
        <dsp:cNvPr id="0" name=""/>
        <dsp:cNvSpPr/>
      </dsp:nvSpPr>
      <dsp:spPr>
        <a:xfrm>
          <a:off x="287423" y="289596"/>
          <a:ext cx="1527043" cy="941829"/>
        </a:xfrm>
        <a:prstGeom prst="roundRect">
          <a:avLst>
            <a:gd name="adj" fmla="val 10000"/>
          </a:avLst>
        </a:prstGeom>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8982" t="-18447" r="8982" b="-18447"/>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957687C4-19B2-4AC9-989B-8FDB2211C091}">
      <dsp:nvSpPr>
        <dsp:cNvPr id="0" name=""/>
        <dsp:cNvSpPr/>
      </dsp:nvSpPr>
      <dsp:spPr>
        <a:xfrm>
          <a:off x="0" y="1673125"/>
          <a:ext cx="8988425" cy="152102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a:t>LEAs</a:t>
          </a:r>
        </a:p>
        <a:p>
          <a:pPr marL="228600" lvl="1" indent="-228600" algn="l" defTabSz="889000">
            <a:lnSpc>
              <a:spcPct val="90000"/>
            </a:lnSpc>
            <a:spcBef>
              <a:spcPct val="0"/>
            </a:spcBef>
            <a:spcAft>
              <a:spcPct val="15000"/>
            </a:spcAft>
            <a:buChar char="•"/>
          </a:pPr>
          <a:r>
            <a:rPr lang="en-US" sz="2000" kern="1200"/>
            <a:t>Compare API transactions against official XML submissions</a:t>
          </a:r>
        </a:p>
        <a:p>
          <a:pPr marL="228600" lvl="1" indent="-228600" algn="l" defTabSz="889000">
            <a:lnSpc>
              <a:spcPct val="90000"/>
            </a:lnSpc>
            <a:spcBef>
              <a:spcPct val="0"/>
            </a:spcBef>
            <a:spcAft>
              <a:spcPct val="15000"/>
            </a:spcAft>
            <a:buChar char="•"/>
          </a:pPr>
          <a:r>
            <a:rPr lang="en-US" sz="2000" kern="1200"/>
            <a:t>Identify and report data discrepancies and system issues</a:t>
          </a:r>
        </a:p>
      </dsp:txBody>
      <dsp:txXfrm>
        <a:off x="1949787" y="1673125"/>
        <a:ext cx="7038637" cy="1521023"/>
      </dsp:txXfrm>
    </dsp:sp>
    <dsp:sp modelId="{E235DA03-5B14-4614-9DD3-5491CCD80FF2}">
      <dsp:nvSpPr>
        <dsp:cNvPr id="0" name=""/>
        <dsp:cNvSpPr/>
      </dsp:nvSpPr>
      <dsp:spPr>
        <a:xfrm>
          <a:off x="287423" y="1962722"/>
          <a:ext cx="1527043" cy="941829"/>
        </a:xfrm>
        <a:prstGeom prst="roundRect">
          <a:avLst>
            <a:gd name="adj" fmla="val 10000"/>
          </a:avLst>
        </a:prstGeom>
        <a:blipFill dpi="0"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8982" t="-9223" r="8982" b="-9223"/>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1E6405CC-3D2F-47E7-BE57-B3EAB5F055EE}">
      <dsp:nvSpPr>
        <dsp:cNvPr id="0" name=""/>
        <dsp:cNvSpPr/>
      </dsp:nvSpPr>
      <dsp:spPr>
        <a:xfrm>
          <a:off x="0" y="3346251"/>
          <a:ext cx="8988425" cy="152102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marL="0" lvl="0" indent="0" algn="l" defTabSz="1155700">
            <a:lnSpc>
              <a:spcPct val="90000"/>
            </a:lnSpc>
            <a:spcBef>
              <a:spcPct val="0"/>
            </a:spcBef>
            <a:spcAft>
              <a:spcPct val="35000"/>
            </a:spcAft>
            <a:buNone/>
          </a:pPr>
          <a:r>
            <a:rPr lang="en-US" sz="2600" b="1" kern="1200"/>
            <a:t>ESCs</a:t>
          </a:r>
        </a:p>
        <a:p>
          <a:pPr marL="228600" lvl="1" indent="-228600" algn="l" defTabSz="889000">
            <a:lnSpc>
              <a:spcPct val="90000"/>
            </a:lnSpc>
            <a:spcBef>
              <a:spcPct val="0"/>
            </a:spcBef>
            <a:spcAft>
              <a:spcPct val="15000"/>
            </a:spcAft>
            <a:buChar char="•"/>
          </a:pPr>
          <a:r>
            <a:rPr lang="en-US" sz="2000" kern="1200"/>
            <a:t>Train participating LEAs prior to and during parallel submission </a:t>
          </a:r>
        </a:p>
        <a:p>
          <a:pPr marL="228600" lvl="1" indent="-228600" algn="l" defTabSz="889000">
            <a:lnSpc>
              <a:spcPct val="90000"/>
            </a:lnSpc>
            <a:spcBef>
              <a:spcPct val="0"/>
            </a:spcBef>
            <a:spcAft>
              <a:spcPct val="15000"/>
            </a:spcAft>
            <a:buChar char="•"/>
          </a:pPr>
          <a:r>
            <a:rPr lang="en-US" sz="2000" kern="1200"/>
            <a:t>Actively support participating LEAs through TIMS </a:t>
          </a:r>
        </a:p>
      </dsp:txBody>
      <dsp:txXfrm>
        <a:off x="1949787" y="3346251"/>
        <a:ext cx="7038637" cy="1521023"/>
      </dsp:txXfrm>
    </dsp:sp>
    <dsp:sp modelId="{B55CB191-42B8-4D97-A049-EF759CE3D0AE}">
      <dsp:nvSpPr>
        <dsp:cNvPr id="0" name=""/>
        <dsp:cNvSpPr/>
      </dsp:nvSpPr>
      <dsp:spPr>
        <a:xfrm>
          <a:off x="287423" y="3635848"/>
          <a:ext cx="1527043" cy="941829"/>
        </a:xfrm>
        <a:prstGeom prst="roundRect">
          <a:avLst>
            <a:gd name="adj" fmla="val 10000"/>
          </a:avLst>
        </a:prstGeom>
        <a:blipFill dpi="0" rotWithShape="1">
          <a:blip xmlns:r="http://schemas.openxmlformats.org/officeDocument/2006/relationships" r:embed="rId5">
            <a:extLst>
              <a:ext uri="{96DAC541-7B7A-43D3-8B79-37D633B846F1}">
                <asvg:svgBlip xmlns:asvg="http://schemas.microsoft.com/office/drawing/2016/SVG/main" r:embed="rId6"/>
              </a:ext>
            </a:extLst>
          </a:blip>
          <a:srcRect/>
          <a:stretch>
            <a:fillRect l="8982" t="-9223" r="8982" b="-9223"/>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218BE6-29E0-478E-ADAA-F9BCA00755CD}">
      <dsp:nvSpPr>
        <dsp:cNvPr id="0" name=""/>
        <dsp:cNvSpPr/>
      </dsp:nvSpPr>
      <dsp:spPr>
        <a:xfrm>
          <a:off x="0" y="2372"/>
          <a:ext cx="5308980" cy="120255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D9E6714-B90C-486F-84EA-6FB8F8760170}">
      <dsp:nvSpPr>
        <dsp:cNvPr id="0" name=""/>
        <dsp:cNvSpPr/>
      </dsp:nvSpPr>
      <dsp:spPr>
        <a:xfrm>
          <a:off x="363773" y="272948"/>
          <a:ext cx="661407" cy="661407"/>
        </a:xfrm>
        <a:prstGeom prst="rect">
          <a:avLst/>
        </a:prstGeom>
        <a:blipFill>
          <a:blip xmlns:r="http://schemas.openxmlformats.org/officeDocument/2006/relationships" r:embed="rId1"/>
          <a:srcRect/>
          <a:stretch>
            <a:fillRect/>
          </a:stretch>
        </a:blipFill>
        <a:ln w="12700" cap="flat" cmpd="sng" algn="ctr">
          <a:solidFill>
            <a:srgbClr val="0D6CB9"/>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1C03B9-0EA4-47EC-96AC-E50056961504}">
      <dsp:nvSpPr>
        <dsp:cNvPr id="0" name=""/>
        <dsp:cNvSpPr/>
      </dsp:nvSpPr>
      <dsp:spPr>
        <a:xfrm>
          <a:off x="1388955" y="2372"/>
          <a:ext cx="3920024" cy="1202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271" tIns="127271" rIns="127271" bIns="127271" numCol="1" spcCol="1270" anchor="t" anchorCtr="0">
          <a:noAutofit/>
        </a:bodyPr>
        <a:lstStyle/>
        <a:p>
          <a:pPr marL="0" lvl="0" indent="0" algn="l" defTabSz="800100">
            <a:lnSpc>
              <a:spcPct val="100000"/>
            </a:lnSpc>
            <a:spcBef>
              <a:spcPct val="0"/>
            </a:spcBef>
            <a:spcAft>
              <a:spcPct val="35000"/>
            </a:spcAft>
            <a:buNone/>
          </a:pPr>
          <a:r>
            <a:rPr lang="en-US" sz="1800" kern="1200" dirty="0">
              <a:solidFill>
                <a:prstClr val="black">
                  <a:hueOff val="0"/>
                  <a:satOff val="0"/>
                  <a:lumOff val="0"/>
                  <a:alphaOff val="0"/>
                </a:prstClr>
              </a:solidFill>
              <a:latin typeface="Calibri" panose="020F0502020204030204"/>
              <a:ea typeface="+mn-ea"/>
              <a:cs typeface="+mn-cs"/>
            </a:rPr>
            <a:t>SDK </a:t>
          </a:r>
          <a:r>
            <a:rPr lang="en-US" sz="1800" b="1" kern="1200" dirty="0">
              <a:solidFill>
                <a:prstClr val="black">
                  <a:hueOff val="0"/>
                  <a:satOff val="0"/>
                  <a:lumOff val="0"/>
                  <a:alphaOff val="0"/>
                </a:prstClr>
              </a:solidFill>
              <a:latin typeface="Calibri" panose="020F0502020204030204"/>
              <a:ea typeface="+mn-ea"/>
              <a:cs typeface="+mn-cs"/>
            </a:rPr>
            <a:t>version 1.4.0 </a:t>
          </a:r>
          <a:r>
            <a:rPr lang="en-US" sz="1800" kern="1200" dirty="0">
              <a:solidFill>
                <a:prstClr val="black">
                  <a:hueOff val="0"/>
                  <a:satOff val="0"/>
                  <a:lumOff val="0"/>
                  <a:alphaOff val="0"/>
                </a:prstClr>
              </a:solidFill>
              <a:latin typeface="Calibri" panose="020F0502020204030204"/>
              <a:ea typeface="+mn-ea"/>
              <a:cs typeface="+mn-cs"/>
            </a:rPr>
            <a:t>will be released in early April 2022 based upon the data standards published in March 2022.</a:t>
          </a:r>
        </a:p>
      </dsp:txBody>
      <dsp:txXfrm>
        <a:off x="1388955" y="2372"/>
        <a:ext cx="3920024" cy="1202558"/>
      </dsp:txXfrm>
    </dsp:sp>
    <dsp:sp modelId="{D9196AF9-7D27-4D5F-AD70-40915B758B67}">
      <dsp:nvSpPr>
        <dsp:cNvPr id="0" name=""/>
        <dsp:cNvSpPr/>
      </dsp:nvSpPr>
      <dsp:spPr>
        <a:xfrm>
          <a:off x="0" y="1514506"/>
          <a:ext cx="5308980" cy="120255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C9C8D17-6300-4660-A1F1-6A9892CE9041}">
      <dsp:nvSpPr>
        <dsp:cNvPr id="0" name=""/>
        <dsp:cNvSpPr/>
      </dsp:nvSpPr>
      <dsp:spPr>
        <a:xfrm>
          <a:off x="363773" y="1776146"/>
          <a:ext cx="661407" cy="661407"/>
        </a:xfrm>
        <a:prstGeom prst="rect">
          <a:avLst/>
        </a:prstGeom>
        <a:blipFill>
          <a:blip xmlns:r="http://schemas.openxmlformats.org/officeDocument/2006/relationships" r:embed="rId2"/>
          <a:srcRect/>
          <a:stretch>
            <a:fillRect/>
          </a:stretch>
        </a:blipFill>
        <a:ln w="12700" cap="flat" cmpd="sng" algn="ctr">
          <a:solidFill>
            <a:srgbClr val="0D6CB9"/>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C1CA29-D1F2-4AF4-BAE8-54B79C36E48B}">
      <dsp:nvSpPr>
        <dsp:cNvPr id="0" name=""/>
        <dsp:cNvSpPr/>
      </dsp:nvSpPr>
      <dsp:spPr>
        <a:xfrm>
          <a:off x="1388955" y="1505571"/>
          <a:ext cx="3920024" cy="1202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271" tIns="127271" rIns="127271" bIns="127271" numCol="1" spcCol="1270" anchor="ctr" anchorCtr="0">
          <a:noAutofit/>
        </a:bodyPr>
        <a:lstStyle/>
        <a:p>
          <a:pPr marL="0" lvl="0" indent="0" algn="l" defTabSz="800100">
            <a:lnSpc>
              <a:spcPct val="100000"/>
            </a:lnSpc>
            <a:spcBef>
              <a:spcPct val="0"/>
            </a:spcBef>
            <a:spcAft>
              <a:spcPct val="35000"/>
            </a:spcAft>
            <a:buNone/>
          </a:pPr>
          <a:r>
            <a:rPr lang="en-US" sz="1800" kern="1200"/>
            <a:t>The mini-pilot for </a:t>
          </a:r>
          <a:r>
            <a:rPr lang="en-US" sz="1800" b="1" kern="1200"/>
            <a:t>End-to-End testing </a:t>
          </a:r>
          <a:r>
            <a:rPr lang="en-US" sz="1800" kern="1200"/>
            <a:t>will occur from May – August 2022 for the pilot program.</a:t>
          </a:r>
        </a:p>
      </dsp:txBody>
      <dsp:txXfrm>
        <a:off x="1388955" y="1505571"/>
        <a:ext cx="3920024" cy="1202558"/>
      </dsp:txXfrm>
    </dsp:sp>
    <dsp:sp modelId="{32EC2B26-DC2E-4184-8BE4-1344C879720C}">
      <dsp:nvSpPr>
        <dsp:cNvPr id="0" name=""/>
        <dsp:cNvSpPr/>
      </dsp:nvSpPr>
      <dsp:spPr>
        <a:xfrm>
          <a:off x="0" y="3008769"/>
          <a:ext cx="5308980" cy="120255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F82FCC2-9709-4FF9-B7EE-DCC0E54A822B}">
      <dsp:nvSpPr>
        <dsp:cNvPr id="0" name=""/>
        <dsp:cNvSpPr/>
      </dsp:nvSpPr>
      <dsp:spPr>
        <a:xfrm>
          <a:off x="363773" y="3279345"/>
          <a:ext cx="661407" cy="661407"/>
        </a:xfrm>
        <a:prstGeom prst="rect">
          <a:avLst/>
        </a:prstGeom>
        <a:blipFill>
          <a:blip xmlns:r="http://schemas.openxmlformats.org/officeDocument/2006/relationships" r:embed="rId3"/>
          <a:srcRect/>
          <a:stretch>
            <a:fillRect/>
          </a:stretch>
        </a:blipFill>
        <a:ln w="12700" cap="flat" cmpd="sng" algn="ctr">
          <a:solidFill>
            <a:srgbClr val="0D6CB9"/>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AA57D8-9CE0-4C36-89AA-832F4B221456}">
      <dsp:nvSpPr>
        <dsp:cNvPr id="0" name=""/>
        <dsp:cNvSpPr/>
      </dsp:nvSpPr>
      <dsp:spPr>
        <a:xfrm>
          <a:off x="1388955" y="3008769"/>
          <a:ext cx="3920024" cy="1202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271" tIns="127271" rIns="127271" bIns="127271" numCol="1" spcCol="1270" anchor="t" anchorCtr="0">
          <a:noAutofit/>
        </a:bodyPr>
        <a:lstStyle/>
        <a:p>
          <a:pPr marL="0" lvl="0" indent="0" algn="l" defTabSz="800100">
            <a:lnSpc>
              <a:spcPct val="100000"/>
            </a:lnSpc>
            <a:spcBef>
              <a:spcPct val="0"/>
            </a:spcBef>
            <a:spcAft>
              <a:spcPct val="35000"/>
            </a:spcAft>
            <a:buNone/>
          </a:pPr>
          <a:r>
            <a:rPr lang="en-US" sz="1800" kern="1200"/>
            <a:t>LEAs in the 2022-2023 parallel submission will compare XML against ODS 3.x </a:t>
          </a:r>
          <a:r>
            <a:rPr lang="en-US" sz="1800" b="1" kern="1200"/>
            <a:t>prior to submission deadlines</a:t>
          </a:r>
          <a:endParaRPr lang="en-US" sz="1800" kern="1200"/>
        </a:p>
      </dsp:txBody>
      <dsp:txXfrm>
        <a:off x="1388955" y="3008769"/>
        <a:ext cx="3920024" cy="1202558"/>
      </dsp:txXfrm>
    </dsp:sp>
    <dsp:sp modelId="{68BD6996-D400-4D00-8693-FA5F10A0358F}">
      <dsp:nvSpPr>
        <dsp:cNvPr id="0" name=""/>
        <dsp:cNvSpPr/>
      </dsp:nvSpPr>
      <dsp:spPr>
        <a:xfrm>
          <a:off x="0" y="4511967"/>
          <a:ext cx="5308980" cy="120255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4D36D34-F92B-4722-8F1F-C4428A78967E}">
      <dsp:nvSpPr>
        <dsp:cNvPr id="0" name=""/>
        <dsp:cNvSpPr/>
      </dsp:nvSpPr>
      <dsp:spPr>
        <a:xfrm>
          <a:off x="363773" y="4782543"/>
          <a:ext cx="661407" cy="661407"/>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0000" r="-20000"/>
          </a:stretch>
        </a:blipFill>
        <a:ln w="12700" cap="flat" cmpd="sng" algn="ctr">
          <a:solidFill>
            <a:srgbClr val="0D6CB9"/>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6F1691-E7D8-4985-85C7-DABB4EF5F651}">
      <dsp:nvSpPr>
        <dsp:cNvPr id="0" name=""/>
        <dsp:cNvSpPr/>
      </dsp:nvSpPr>
      <dsp:spPr>
        <a:xfrm>
          <a:off x="1388955" y="4511967"/>
          <a:ext cx="3920024" cy="1202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271" tIns="127271" rIns="127271" bIns="127271" numCol="1" spcCol="1270" anchor="ctr" anchorCtr="0">
          <a:noAutofit/>
        </a:bodyPr>
        <a:lstStyle/>
        <a:p>
          <a:pPr marL="0" lvl="0" indent="0" algn="l" defTabSz="800100">
            <a:lnSpc>
              <a:spcPct val="100000"/>
            </a:lnSpc>
            <a:spcBef>
              <a:spcPct val="0"/>
            </a:spcBef>
            <a:spcAft>
              <a:spcPct val="35000"/>
            </a:spcAft>
            <a:buNone/>
          </a:pPr>
          <a:r>
            <a:rPr lang="en-US" sz="1800" kern="1200"/>
            <a:t>LEAs will confirm product readiness for vendors to obtain the required </a:t>
          </a:r>
          <a:r>
            <a:rPr lang="en-US" sz="1800" b="1" kern="1200"/>
            <a:t>TSDS Compatible Designation</a:t>
          </a:r>
          <a:r>
            <a:rPr lang="en-US" sz="1800" kern="1200"/>
            <a:t>. </a:t>
          </a:r>
          <a:endParaRPr lang="en-US" sz="1800" b="1" kern="1200"/>
        </a:p>
      </dsp:txBody>
      <dsp:txXfrm>
        <a:off x="1388955" y="4511967"/>
        <a:ext cx="3920024" cy="1202558"/>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0D5E38-04D7-4CC0-AF82-3E5D8CB519DD}" type="datetimeFigureOut">
              <a:rPr lang="en-US" smtClean="0"/>
              <a:t>3/2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4D9ABE-7AB9-4D3A-BEA5-45E799BD6C0E}" type="slidenum">
              <a:rPr lang="en-US" smtClean="0"/>
              <a:t>‹#›</a:t>
            </a:fld>
            <a:endParaRPr lang="en-US"/>
          </a:p>
        </p:txBody>
      </p:sp>
    </p:spTree>
    <p:extLst>
      <p:ext uri="{BB962C8B-B14F-4D97-AF65-F5344CB8AC3E}">
        <p14:creationId xmlns:p14="http://schemas.microsoft.com/office/powerpoint/2010/main" val="2592176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a:t>
            </a:fld>
            <a:endParaRPr lang="en-US"/>
          </a:p>
        </p:txBody>
      </p:sp>
    </p:spTree>
    <p:extLst>
      <p:ext uri="{BB962C8B-B14F-4D97-AF65-F5344CB8AC3E}">
        <p14:creationId xmlns:p14="http://schemas.microsoft.com/office/powerpoint/2010/main" val="548962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0</a:t>
            </a:fld>
            <a:endParaRPr lang="en-US"/>
          </a:p>
        </p:txBody>
      </p:sp>
    </p:spTree>
    <p:extLst>
      <p:ext uri="{BB962C8B-B14F-4D97-AF65-F5344CB8AC3E}">
        <p14:creationId xmlns:p14="http://schemas.microsoft.com/office/powerpoint/2010/main" val="15348997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1</a:t>
            </a:fld>
            <a:endParaRPr lang="en-US"/>
          </a:p>
        </p:txBody>
      </p:sp>
    </p:spTree>
    <p:extLst>
      <p:ext uri="{BB962C8B-B14F-4D97-AF65-F5344CB8AC3E}">
        <p14:creationId xmlns:p14="http://schemas.microsoft.com/office/powerpoint/2010/main" val="42416290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u="none"/>
          </a:p>
        </p:txBody>
      </p:sp>
      <p:sp>
        <p:nvSpPr>
          <p:cNvPr id="4" name="Slide Number Placeholder 3"/>
          <p:cNvSpPr>
            <a:spLocks noGrp="1"/>
          </p:cNvSpPr>
          <p:nvPr>
            <p:ph type="sldNum" sz="quarter" idx="5"/>
          </p:nvPr>
        </p:nvSpPr>
        <p:spPr/>
        <p:txBody>
          <a:bodyPr/>
          <a:lstStyle/>
          <a:p>
            <a:fld id="{9E4D9ABE-7AB9-4D3A-BEA5-45E799BD6C0E}" type="slidenum">
              <a:rPr lang="en-US" smtClean="0"/>
              <a:t>12</a:t>
            </a:fld>
            <a:endParaRPr lang="en-US"/>
          </a:p>
        </p:txBody>
      </p:sp>
    </p:spTree>
    <p:extLst>
      <p:ext uri="{BB962C8B-B14F-4D97-AF65-F5344CB8AC3E}">
        <p14:creationId xmlns:p14="http://schemas.microsoft.com/office/powerpoint/2010/main" val="3065217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3</a:t>
            </a:fld>
            <a:endParaRPr lang="en-US"/>
          </a:p>
        </p:txBody>
      </p:sp>
    </p:spTree>
    <p:extLst>
      <p:ext uri="{BB962C8B-B14F-4D97-AF65-F5344CB8AC3E}">
        <p14:creationId xmlns:p14="http://schemas.microsoft.com/office/powerpoint/2010/main" val="28465395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4</a:t>
            </a:fld>
            <a:endParaRPr lang="en-US"/>
          </a:p>
        </p:txBody>
      </p:sp>
    </p:spTree>
    <p:extLst>
      <p:ext uri="{BB962C8B-B14F-4D97-AF65-F5344CB8AC3E}">
        <p14:creationId xmlns:p14="http://schemas.microsoft.com/office/powerpoint/2010/main" val="14008638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5</a:t>
            </a:fld>
            <a:endParaRPr lang="en-US"/>
          </a:p>
        </p:txBody>
      </p:sp>
    </p:spTree>
    <p:extLst>
      <p:ext uri="{BB962C8B-B14F-4D97-AF65-F5344CB8AC3E}">
        <p14:creationId xmlns:p14="http://schemas.microsoft.com/office/powerpoint/2010/main" val="27468719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6</a:t>
            </a:fld>
            <a:endParaRPr lang="en-US"/>
          </a:p>
        </p:txBody>
      </p:sp>
    </p:spTree>
    <p:extLst>
      <p:ext uri="{BB962C8B-B14F-4D97-AF65-F5344CB8AC3E}">
        <p14:creationId xmlns:p14="http://schemas.microsoft.com/office/powerpoint/2010/main" val="5286221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a:p>
        </p:txBody>
      </p:sp>
      <p:sp>
        <p:nvSpPr>
          <p:cNvPr id="4" name="Slide Number Placeholder 3"/>
          <p:cNvSpPr>
            <a:spLocks noGrp="1"/>
          </p:cNvSpPr>
          <p:nvPr>
            <p:ph type="sldNum" sz="quarter" idx="5"/>
          </p:nvPr>
        </p:nvSpPr>
        <p:spPr/>
        <p:txBody>
          <a:bodyPr/>
          <a:lstStyle/>
          <a:p>
            <a:fld id="{9E4D9ABE-7AB9-4D3A-BEA5-45E799BD6C0E}" type="slidenum">
              <a:rPr lang="en-US" smtClean="0"/>
              <a:t>17</a:t>
            </a:fld>
            <a:endParaRPr lang="en-US"/>
          </a:p>
        </p:txBody>
      </p:sp>
    </p:spTree>
    <p:extLst>
      <p:ext uri="{BB962C8B-B14F-4D97-AF65-F5344CB8AC3E}">
        <p14:creationId xmlns:p14="http://schemas.microsoft.com/office/powerpoint/2010/main" val="36978139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8</a:t>
            </a:fld>
            <a:endParaRPr lang="en-US"/>
          </a:p>
        </p:txBody>
      </p:sp>
    </p:spTree>
    <p:extLst>
      <p:ext uri="{BB962C8B-B14F-4D97-AF65-F5344CB8AC3E}">
        <p14:creationId xmlns:p14="http://schemas.microsoft.com/office/powerpoint/2010/main" val="3338294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1C19E84-432F-4B13-8A59-CF116900378E}" type="slidenum">
              <a:rPr lang="en-US" smtClean="0"/>
              <a:t>19</a:t>
            </a:fld>
            <a:endParaRPr lang="en-US"/>
          </a:p>
        </p:txBody>
      </p:sp>
    </p:spTree>
    <p:extLst>
      <p:ext uri="{BB962C8B-B14F-4D97-AF65-F5344CB8AC3E}">
        <p14:creationId xmlns:p14="http://schemas.microsoft.com/office/powerpoint/2010/main" val="1371397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a:t>
            </a:fld>
            <a:endParaRPr lang="en-US"/>
          </a:p>
        </p:txBody>
      </p:sp>
    </p:spTree>
    <p:extLst>
      <p:ext uri="{BB962C8B-B14F-4D97-AF65-F5344CB8AC3E}">
        <p14:creationId xmlns:p14="http://schemas.microsoft.com/office/powerpoint/2010/main" val="31322199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23018">
              <a:buNone/>
              <a:defRPr/>
            </a:pPr>
            <a:endParaRPr lang="en-US" b="0"/>
          </a:p>
        </p:txBody>
      </p:sp>
      <p:sp>
        <p:nvSpPr>
          <p:cNvPr id="4" name="Slide Number Placeholder 3"/>
          <p:cNvSpPr>
            <a:spLocks noGrp="1"/>
          </p:cNvSpPr>
          <p:nvPr>
            <p:ph type="sldNum" sz="quarter" idx="5"/>
          </p:nvPr>
        </p:nvSpPr>
        <p:spPr/>
        <p:txBody>
          <a:bodyPr/>
          <a:lstStyle/>
          <a:p>
            <a:fld id="{9E4D9ABE-7AB9-4D3A-BEA5-45E799BD6C0E}" type="slidenum">
              <a:rPr lang="en-US" smtClean="0"/>
              <a:t>20</a:t>
            </a:fld>
            <a:endParaRPr lang="en-US"/>
          </a:p>
        </p:txBody>
      </p:sp>
    </p:spTree>
    <p:extLst>
      <p:ext uri="{BB962C8B-B14F-4D97-AF65-F5344CB8AC3E}">
        <p14:creationId xmlns:p14="http://schemas.microsoft.com/office/powerpoint/2010/main" val="38430643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u="none"/>
          </a:p>
        </p:txBody>
      </p:sp>
      <p:sp>
        <p:nvSpPr>
          <p:cNvPr id="4" name="Slide Number Placeholder 3"/>
          <p:cNvSpPr>
            <a:spLocks noGrp="1"/>
          </p:cNvSpPr>
          <p:nvPr>
            <p:ph type="sldNum" sz="quarter" idx="5"/>
          </p:nvPr>
        </p:nvSpPr>
        <p:spPr/>
        <p:txBody>
          <a:bodyPr/>
          <a:lstStyle/>
          <a:p>
            <a:fld id="{9E4D9ABE-7AB9-4D3A-BEA5-45E799BD6C0E}" type="slidenum">
              <a:rPr lang="en-US" smtClean="0"/>
              <a:t>21</a:t>
            </a:fld>
            <a:endParaRPr lang="en-US"/>
          </a:p>
        </p:txBody>
      </p:sp>
    </p:spTree>
    <p:extLst>
      <p:ext uri="{BB962C8B-B14F-4D97-AF65-F5344CB8AC3E}">
        <p14:creationId xmlns:p14="http://schemas.microsoft.com/office/powerpoint/2010/main" val="26378719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2</a:t>
            </a:fld>
            <a:endParaRPr lang="en-US"/>
          </a:p>
        </p:txBody>
      </p:sp>
    </p:spTree>
    <p:extLst>
      <p:ext uri="{BB962C8B-B14F-4D97-AF65-F5344CB8AC3E}">
        <p14:creationId xmlns:p14="http://schemas.microsoft.com/office/powerpoint/2010/main" val="12918825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3</a:t>
            </a:fld>
            <a:endParaRPr lang="en-US"/>
          </a:p>
        </p:txBody>
      </p:sp>
    </p:spTree>
    <p:extLst>
      <p:ext uri="{BB962C8B-B14F-4D97-AF65-F5344CB8AC3E}">
        <p14:creationId xmlns:p14="http://schemas.microsoft.com/office/powerpoint/2010/main" val="38385424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4</a:t>
            </a:fld>
            <a:endParaRPr lang="en-US"/>
          </a:p>
        </p:txBody>
      </p:sp>
    </p:spTree>
    <p:extLst>
      <p:ext uri="{BB962C8B-B14F-4D97-AF65-F5344CB8AC3E}">
        <p14:creationId xmlns:p14="http://schemas.microsoft.com/office/powerpoint/2010/main" val="35106889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5</a:t>
            </a:fld>
            <a:endParaRPr lang="en-US"/>
          </a:p>
        </p:txBody>
      </p:sp>
    </p:spTree>
    <p:extLst>
      <p:ext uri="{BB962C8B-B14F-4D97-AF65-F5344CB8AC3E}">
        <p14:creationId xmlns:p14="http://schemas.microsoft.com/office/powerpoint/2010/main" val="18582612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6</a:t>
            </a:fld>
            <a:endParaRPr lang="en-US"/>
          </a:p>
        </p:txBody>
      </p:sp>
    </p:spTree>
    <p:extLst>
      <p:ext uri="{BB962C8B-B14F-4D97-AF65-F5344CB8AC3E}">
        <p14:creationId xmlns:p14="http://schemas.microsoft.com/office/powerpoint/2010/main" val="14336757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7</a:t>
            </a:fld>
            <a:endParaRPr lang="en-US"/>
          </a:p>
        </p:txBody>
      </p:sp>
    </p:spTree>
    <p:extLst>
      <p:ext uri="{BB962C8B-B14F-4D97-AF65-F5344CB8AC3E}">
        <p14:creationId xmlns:p14="http://schemas.microsoft.com/office/powerpoint/2010/main" val="2592966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a:t>
            </a:fld>
            <a:endParaRPr lang="en-US"/>
          </a:p>
        </p:txBody>
      </p:sp>
    </p:spTree>
    <p:extLst>
      <p:ext uri="{BB962C8B-B14F-4D97-AF65-F5344CB8AC3E}">
        <p14:creationId xmlns:p14="http://schemas.microsoft.com/office/powerpoint/2010/main" val="10191209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4</a:t>
            </a:fld>
            <a:endParaRPr lang="en-US"/>
          </a:p>
        </p:txBody>
      </p:sp>
    </p:spTree>
    <p:extLst>
      <p:ext uri="{BB962C8B-B14F-4D97-AF65-F5344CB8AC3E}">
        <p14:creationId xmlns:p14="http://schemas.microsoft.com/office/powerpoint/2010/main" val="7232112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u="none"/>
          </a:p>
        </p:txBody>
      </p:sp>
      <p:sp>
        <p:nvSpPr>
          <p:cNvPr id="4" name="Slide Number Placeholder 3"/>
          <p:cNvSpPr>
            <a:spLocks noGrp="1"/>
          </p:cNvSpPr>
          <p:nvPr>
            <p:ph type="sldNum" sz="quarter" idx="5"/>
          </p:nvPr>
        </p:nvSpPr>
        <p:spPr/>
        <p:txBody>
          <a:bodyPr/>
          <a:lstStyle/>
          <a:p>
            <a:fld id="{9E4D9ABE-7AB9-4D3A-BEA5-45E799BD6C0E}" type="slidenum">
              <a:rPr lang="en-US" smtClean="0"/>
              <a:t>5</a:t>
            </a:fld>
            <a:endParaRPr lang="en-US"/>
          </a:p>
        </p:txBody>
      </p:sp>
    </p:spTree>
    <p:extLst>
      <p:ext uri="{BB962C8B-B14F-4D97-AF65-F5344CB8AC3E}">
        <p14:creationId xmlns:p14="http://schemas.microsoft.com/office/powerpoint/2010/main" val="38102038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i="0"/>
          </a:p>
        </p:txBody>
      </p:sp>
      <p:sp>
        <p:nvSpPr>
          <p:cNvPr id="4" name="Slide Number Placeholder 3"/>
          <p:cNvSpPr>
            <a:spLocks noGrp="1"/>
          </p:cNvSpPr>
          <p:nvPr>
            <p:ph type="sldNum" sz="quarter" idx="5"/>
          </p:nvPr>
        </p:nvSpPr>
        <p:spPr/>
        <p:txBody>
          <a:bodyPr/>
          <a:lstStyle/>
          <a:p>
            <a:fld id="{9E4D9ABE-7AB9-4D3A-BEA5-45E799BD6C0E}" type="slidenum">
              <a:rPr lang="en-US" smtClean="0"/>
              <a:t>6</a:t>
            </a:fld>
            <a:endParaRPr lang="en-US"/>
          </a:p>
        </p:txBody>
      </p:sp>
    </p:spTree>
    <p:extLst>
      <p:ext uri="{BB962C8B-B14F-4D97-AF65-F5344CB8AC3E}">
        <p14:creationId xmlns:p14="http://schemas.microsoft.com/office/powerpoint/2010/main" val="3682531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7</a:t>
            </a:fld>
            <a:endParaRPr lang="en-US"/>
          </a:p>
        </p:txBody>
      </p:sp>
    </p:spTree>
    <p:extLst>
      <p:ext uri="{BB962C8B-B14F-4D97-AF65-F5344CB8AC3E}">
        <p14:creationId xmlns:p14="http://schemas.microsoft.com/office/powerpoint/2010/main" val="1401054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8</a:t>
            </a:fld>
            <a:endParaRPr lang="en-US"/>
          </a:p>
        </p:txBody>
      </p:sp>
    </p:spTree>
    <p:extLst>
      <p:ext uri="{BB962C8B-B14F-4D97-AF65-F5344CB8AC3E}">
        <p14:creationId xmlns:p14="http://schemas.microsoft.com/office/powerpoint/2010/main" val="31039975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9</a:t>
            </a:fld>
            <a:endParaRPr lang="en-US"/>
          </a:p>
        </p:txBody>
      </p:sp>
    </p:spTree>
    <p:extLst>
      <p:ext uri="{BB962C8B-B14F-4D97-AF65-F5344CB8AC3E}">
        <p14:creationId xmlns:p14="http://schemas.microsoft.com/office/powerpoint/2010/main" val="32283276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pic>
        <p:nvPicPr>
          <p:cNvPr id="3" name="Picture 2" descr="Logo, company name&#10;&#10;Description automatically generated">
            <a:extLst>
              <a:ext uri="{FF2B5EF4-FFF2-40B4-BE49-F238E27FC236}">
                <a16:creationId xmlns:a16="http://schemas.microsoft.com/office/drawing/2014/main" id="{3FD4AE78-D0EB-4A0B-B63F-8343844A88F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3509" y="6173310"/>
            <a:ext cx="865233" cy="524798"/>
          </a:xfrm>
          <a:prstGeom prst="rect">
            <a:avLst/>
          </a:prstGeom>
        </p:spPr>
      </p:pic>
    </p:spTree>
    <p:extLst>
      <p:ext uri="{BB962C8B-B14F-4D97-AF65-F5344CB8AC3E}">
        <p14:creationId xmlns:p14="http://schemas.microsoft.com/office/powerpoint/2010/main" val="349444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4/2022</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4" name="Picture 3" descr="Logo&#10;&#10;Description automatically generated">
            <a:extLst>
              <a:ext uri="{FF2B5EF4-FFF2-40B4-BE49-F238E27FC236}">
                <a16:creationId xmlns:a16="http://schemas.microsoft.com/office/drawing/2014/main" id="{F67056E4-3E14-4ED3-85AB-955E33A8DA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25017751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4/2022</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4" name="Picture 3" descr="Logo&#10;&#10;Description automatically generated">
            <a:extLst>
              <a:ext uri="{FF2B5EF4-FFF2-40B4-BE49-F238E27FC236}">
                <a16:creationId xmlns:a16="http://schemas.microsoft.com/office/drawing/2014/main" id="{95EFC259-BBAE-4DA5-B848-4DB59354A87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18884765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4/2022</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4" name="Picture 3" descr="Logo&#10;&#10;Description automatically generated">
            <a:extLst>
              <a:ext uri="{FF2B5EF4-FFF2-40B4-BE49-F238E27FC236}">
                <a16:creationId xmlns:a16="http://schemas.microsoft.com/office/drawing/2014/main" id="{B82200EE-224B-415F-A726-90C5CBB2F8E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15879290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4/2022</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3" name="Picture 2" descr="Logo&#10;&#10;Description automatically generated">
            <a:extLst>
              <a:ext uri="{FF2B5EF4-FFF2-40B4-BE49-F238E27FC236}">
                <a16:creationId xmlns:a16="http://schemas.microsoft.com/office/drawing/2014/main" id="{9917D098-5A09-4869-B309-8E88CBD6B8E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18579403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4/2022</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3" name="Picture 2" descr="Logo&#10;&#10;Description automatically generated">
            <a:extLst>
              <a:ext uri="{FF2B5EF4-FFF2-40B4-BE49-F238E27FC236}">
                <a16:creationId xmlns:a16="http://schemas.microsoft.com/office/drawing/2014/main" id="{4775AFD9-BEE3-425F-9AB3-3335000DBB4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10157514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4/2022</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3" name="Picture 2" descr="Logo&#10;&#10;Description automatically generated">
            <a:extLst>
              <a:ext uri="{FF2B5EF4-FFF2-40B4-BE49-F238E27FC236}">
                <a16:creationId xmlns:a16="http://schemas.microsoft.com/office/drawing/2014/main" id="{57E9B9A6-20E0-4E5C-B982-427BF76498E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28050172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4/2022</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2" name="Picture 1" descr="Logo&#10;&#10;Description automatically generated">
            <a:extLst>
              <a:ext uri="{FF2B5EF4-FFF2-40B4-BE49-F238E27FC236}">
                <a16:creationId xmlns:a16="http://schemas.microsoft.com/office/drawing/2014/main" id="{26C6628B-B955-4A06-A2D2-F2637EC1E6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25391118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4/2022</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pic>
        <p:nvPicPr>
          <p:cNvPr id="3" name="Picture 2" descr="Logo, company name&#10;&#10;Description automatically generated">
            <a:extLst>
              <a:ext uri="{FF2B5EF4-FFF2-40B4-BE49-F238E27FC236}">
                <a16:creationId xmlns:a16="http://schemas.microsoft.com/office/drawing/2014/main" id="{C1ADDC4B-24B4-4987-8301-62AC6401666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3710167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4/2022</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pic>
        <p:nvPicPr>
          <p:cNvPr id="2" name="Picture 1" descr="Logo, company name&#10;&#10;Description automatically generated">
            <a:extLst>
              <a:ext uri="{FF2B5EF4-FFF2-40B4-BE49-F238E27FC236}">
                <a16:creationId xmlns:a16="http://schemas.microsoft.com/office/drawing/2014/main" id="{9BBBBBA0-AAB0-4BC2-BDF1-8C90CA9DFF5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37747359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4/2022</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pic>
        <p:nvPicPr>
          <p:cNvPr id="2" name="Picture 1" descr="Logo, company name&#10;&#10;Description automatically generated">
            <a:extLst>
              <a:ext uri="{FF2B5EF4-FFF2-40B4-BE49-F238E27FC236}">
                <a16:creationId xmlns:a16="http://schemas.microsoft.com/office/drawing/2014/main" id="{13A586B6-7406-43F8-B07F-A8BD953D18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4115139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pic>
        <p:nvPicPr>
          <p:cNvPr id="3" name="Picture 2" descr="Logo, company name&#10;&#10;Description automatically generated">
            <a:extLst>
              <a:ext uri="{FF2B5EF4-FFF2-40B4-BE49-F238E27FC236}">
                <a16:creationId xmlns:a16="http://schemas.microsoft.com/office/drawing/2014/main" id="{3B2691C8-17BF-4178-8EB9-778DEDDB1A7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3509" y="6173310"/>
            <a:ext cx="865233" cy="524798"/>
          </a:xfrm>
          <a:prstGeom prst="rect">
            <a:avLst/>
          </a:prstGeom>
        </p:spPr>
      </p:pic>
    </p:spTree>
    <p:extLst>
      <p:ext uri="{BB962C8B-B14F-4D97-AF65-F5344CB8AC3E}">
        <p14:creationId xmlns:p14="http://schemas.microsoft.com/office/powerpoint/2010/main" val="3613161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4/2022</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pic>
        <p:nvPicPr>
          <p:cNvPr id="2" name="Picture 1" descr="Logo, company name&#10;&#10;Description automatically generated">
            <a:extLst>
              <a:ext uri="{FF2B5EF4-FFF2-40B4-BE49-F238E27FC236}">
                <a16:creationId xmlns:a16="http://schemas.microsoft.com/office/drawing/2014/main" id="{4973D2B0-1CE9-493B-9925-CD6B89614F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1755101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4/2022</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pic>
        <p:nvPicPr>
          <p:cNvPr id="2" name="Picture 1" descr="Logo, company name&#10;&#10;Description automatically generated">
            <a:extLst>
              <a:ext uri="{FF2B5EF4-FFF2-40B4-BE49-F238E27FC236}">
                <a16:creationId xmlns:a16="http://schemas.microsoft.com/office/drawing/2014/main" id="{CAF8FDEC-6588-41D9-99DC-18FE86AD052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18906788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4/2022</a:t>
            </a:fld>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4/2022</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pic>
        <p:nvPicPr>
          <p:cNvPr id="2" name="Picture 1" descr="Logo, company name&#10;&#10;Description automatically generated">
            <a:extLst>
              <a:ext uri="{FF2B5EF4-FFF2-40B4-BE49-F238E27FC236}">
                <a16:creationId xmlns:a16="http://schemas.microsoft.com/office/drawing/2014/main" id="{5BF0BE0F-8278-429A-ABC4-48862EE15D9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35834570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FA6A0AD2-53AF-4D84-8AC9-3DBC493F2F75}" type="datetimeFigureOut">
              <a:rPr lang="en-US" smtClean="0"/>
              <a:t>3/24/2022</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634836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4/2022</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pic>
        <p:nvPicPr>
          <p:cNvPr id="4" name="Picture 3" descr="Logo, company name&#10;&#10;Description automatically generated">
            <a:extLst>
              <a:ext uri="{FF2B5EF4-FFF2-40B4-BE49-F238E27FC236}">
                <a16:creationId xmlns:a16="http://schemas.microsoft.com/office/drawing/2014/main" id="{715CADD9-290D-480D-B381-B762CBC85C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35986490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FA6A0AD2-53AF-4D84-8AC9-3DBC493F2F75}" type="datetimeFigureOut">
              <a:rPr lang="en-US" smtClean="0"/>
              <a:t>3/24/2022</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4/2022</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pic>
        <p:nvPicPr>
          <p:cNvPr id="4" name="Picture 3" descr="Logo, company name&#10;&#10;Description automatically generated">
            <a:extLst>
              <a:ext uri="{FF2B5EF4-FFF2-40B4-BE49-F238E27FC236}">
                <a16:creationId xmlns:a16="http://schemas.microsoft.com/office/drawing/2014/main" id="{46102D5F-B5B3-44E7-B63C-D3C34DEFE1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22349193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4/2022</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pic>
        <p:nvPicPr>
          <p:cNvPr id="4" name="Picture 3" descr="Logo, company name&#10;&#10;Description automatically generated">
            <a:extLst>
              <a:ext uri="{FF2B5EF4-FFF2-40B4-BE49-F238E27FC236}">
                <a16:creationId xmlns:a16="http://schemas.microsoft.com/office/drawing/2014/main" id="{0CB36AA6-6A09-4EF9-94EF-52554048B0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36078154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4/2022</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pic>
        <p:nvPicPr>
          <p:cNvPr id="3" name="Picture 2" descr="Logo, company name&#10;&#10;Description automatically generated">
            <a:extLst>
              <a:ext uri="{FF2B5EF4-FFF2-40B4-BE49-F238E27FC236}">
                <a16:creationId xmlns:a16="http://schemas.microsoft.com/office/drawing/2014/main" id="{67211782-D95D-4EAA-8801-2284CAACAE5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2056521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4/2022</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pic>
        <p:nvPicPr>
          <p:cNvPr id="3" name="Picture 2" descr="Logo, company name&#10;&#10;Description automatically generated">
            <a:extLst>
              <a:ext uri="{FF2B5EF4-FFF2-40B4-BE49-F238E27FC236}">
                <a16:creationId xmlns:a16="http://schemas.microsoft.com/office/drawing/2014/main" id="{4569829E-0179-48F9-9819-FA8179268C1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34793379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4/2022</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pic>
        <p:nvPicPr>
          <p:cNvPr id="4" name="Picture 3" descr="Logo, company name&#10;&#10;Description automatically generated">
            <a:extLst>
              <a:ext uri="{FF2B5EF4-FFF2-40B4-BE49-F238E27FC236}">
                <a16:creationId xmlns:a16="http://schemas.microsoft.com/office/drawing/2014/main" id="{7B514CDE-B44E-48D2-AF6E-F7F26F3FAC3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2613072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pic>
        <p:nvPicPr>
          <p:cNvPr id="3" name="Picture 2" descr="Logo, company name&#10;&#10;Description automatically generated">
            <a:extLst>
              <a:ext uri="{FF2B5EF4-FFF2-40B4-BE49-F238E27FC236}">
                <a16:creationId xmlns:a16="http://schemas.microsoft.com/office/drawing/2014/main" id="{2CABA84F-8E24-41C1-A179-B6E997659DE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3509" y="6173310"/>
            <a:ext cx="865233" cy="524798"/>
          </a:xfrm>
          <a:prstGeom prst="rect">
            <a:avLst/>
          </a:prstGeom>
        </p:spPr>
      </p:pic>
    </p:spTree>
    <p:extLst>
      <p:ext uri="{BB962C8B-B14F-4D97-AF65-F5344CB8AC3E}">
        <p14:creationId xmlns:p14="http://schemas.microsoft.com/office/powerpoint/2010/main" val="8543116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pic>
        <p:nvPicPr>
          <p:cNvPr id="3" name="Picture 2" descr="Logo, company name&#10;&#10;Description automatically generated">
            <a:extLst>
              <a:ext uri="{FF2B5EF4-FFF2-40B4-BE49-F238E27FC236}">
                <a16:creationId xmlns:a16="http://schemas.microsoft.com/office/drawing/2014/main" id="{528B33F6-A58B-4CDC-8488-A0B7054DA82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3509" y="6173310"/>
            <a:ext cx="865233" cy="524798"/>
          </a:xfrm>
          <a:prstGeom prst="rect">
            <a:avLst/>
          </a:prstGeom>
        </p:spPr>
      </p:pic>
    </p:spTree>
    <p:extLst>
      <p:ext uri="{BB962C8B-B14F-4D97-AF65-F5344CB8AC3E}">
        <p14:creationId xmlns:p14="http://schemas.microsoft.com/office/powerpoint/2010/main" val="8662714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pic>
        <p:nvPicPr>
          <p:cNvPr id="3" name="Picture 2" descr="Logo, company name&#10;&#10;Description automatically generated">
            <a:extLst>
              <a:ext uri="{FF2B5EF4-FFF2-40B4-BE49-F238E27FC236}">
                <a16:creationId xmlns:a16="http://schemas.microsoft.com/office/drawing/2014/main" id="{9FB7DA9D-A6E0-4F2D-B849-48659B12B7B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4294" y="6040073"/>
            <a:ext cx="1060704" cy="643359"/>
          </a:xfrm>
          <a:prstGeom prst="rect">
            <a:avLst/>
          </a:prstGeom>
        </p:spPr>
      </p:pic>
    </p:spTree>
    <p:extLst>
      <p:ext uri="{BB962C8B-B14F-4D97-AF65-F5344CB8AC3E}">
        <p14:creationId xmlns:p14="http://schemas.microsoft.com/office/powerpoint/2010/main" val="6297266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pic>
        <p:nvPicPr>
          <p:cNvPr id="3" name="Picture 2" descr="Logo, company name&#10;&#10;Description automatically generated">
            <a:extLst>
              <a:ext uri="{FF2B5EF4-FFF2-40B4-BE49-F238E27FC236}">
                <a16:creationId xmlns:a16="http://schemas.microsoft.com/office/drawing/2014/main" id="{954323D5-DC36-4533-A457-DCC5ED0C961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4294" y="6040073"/>
            <a:ext cx="1060704" cy="643359"/>
          </a:xfrm>
          <a:prstGeom prst="rect">
            <a:avLst/>
          </a:prstGeom>
        </p:spPr>
      </p:pic>
    </p:spTree>
    <p:extLst>
      <p:ext uri="{BB962C8B-B14F-4D97-AF65-F5344CB8AC3E}">
        <p14:creationId xmlns:p14="http://schemas.microsoft.com/office/powerpoint/2010/main" val="10520028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pic>
        <p:nvPicPr>
          <p:cNvPr id="3" name="Picture 2" descr="Logo, company name&#10;&#10;Description automatically generated">
            <a:extLst>
              <a:ext uri="{FF2B5EF4-FFF2-40B4-BE49-F238E27FC236}">
                <a16:creationId xmlns:a16="http://schemas.microsoft.com/office/drawing/2014/main" id="{44B20456-6692-4960-8821-D490DE17564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4294" y="6040073"/>
            <a:ext cx="1060704" cy="643359"/>
          </a:xfrm>
          <a:prstGeom prst="rect">
            <a:avLst/>
          </a:prstGeom>
        </p:spPr>
      </p:pic>
    </p:spTree>
    <p:extLst>
      <p:ext uri="{BB962C8B-B14F-4D97-AF65-F5344CB8AC3E}">
        <p14:creationId xmlns:p14="http://schemas.microsoft.com/office/powerpoint/2010/main" val="316672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pic>
        <p:nvPicPr>
          <p:cNvPr id="3" name="Picture 2" descr="Logo, company name&#10;&#10;Description automatically generated">
            <a:extLst>
              <a:ext uri="{FF2B5EF4-FFF2-40B4-BE49-F238E27FC236}">
                <a16:creationId xmlns:a16="http://schemas.microsoft.com/office/drawing/2014/main" id="{3C7C0638-979B-4B0B-B96F-6B859AF7A69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4294" y="6040073"/>
            <a:ext cx="1060704" cy="643359"/>
          </a:xfrm>
          <a:prstGeom prst="rect">
            <a:avLst/>
          </a:prstGeom>
        </p:spPr>
      </p:pic>
    </p:spTree>
    <p:extLst>
      <p:ext uri="{BB962C8B-B14F-4D97-AF65-F5344CB8AC3E}">
        <p14:creationId xmlns:p14="http://schemas.microsoft.com/office/powerpoint/2010/main" val="10694704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4/2022</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5" name="Picture 4" descr="Logo&#10;&#10;Description automatically generated">
            <a:extLst>
              <a:ext uri="{FF2B5EF4-FFF2-40B4-BE49-F238E27FC236}">
                <a16:creationId xmlns:a16="http://schemas.microsoft.com/office/drawing/2014/main" id="{AD25C652-3A12-4692-BB44-8656ED261CE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31015209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FA6A0AD2-53AF-4D84-8AC9-3DBC493F2F75}" type="datetimeFigureOut">
              <a:rPr lang="en-US" smtClean="0"/>
              <a:pPr/>
              <a:t>3/24/2022</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743" r:id="rId1"/>
    <p:sldLayoutId id="2147483721" r:id="rId2"/>
    <p:sldLayoutId id="2147483742" r:id="rId3"/>
    <p:sldLayoutId id="2147483748" r:id="rId4"/>
    <p:sldLayoutId id="2147483746" r:id="rId5"/>
    <p:sldLayoutId id="2147483747" r:id="rId6"/>
    <p:sldLayoutId id="2147483744" r:id="rId7"/>
    <p:sldLayoutId id="2147483745" r:id="rId8"/>
    <p:sldLayoutId id="2147483725" r:id="rId9"/>
    <p:sldLayoutId id="2147483756" r:id="rId10"/>
    <p:sldLayoutId id="2147483749" r:id="rId11"/>
    <p:sldLayoutId id="2147483750" r:id="rId12"/>
    <p:sldLayoutId id="2147483751" r:id="rId13"/>
    <p:sldLayoutId id="2147483753" r:id="rId14"/>
    <p:sldLayoutId id="2147483752" r:id="rId15"/>
    <p:sldLayoutId id="2147483720" r:id="rId16"/>
    <p:sldLayoutId id="2147483754" r:id="rId17"/>
    <p:sldLayoutId id="2147483757" r:id="rId18"/>
    <p:sldLayoutId id="2147483758"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55" r:id="rId29"/>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18.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5.xml"/><Relationship Id="rId1" Type="http://schemas.openxmlformats.org/officeDocument/2006/relationships/slideLayout" Target="../slideLayouts/slideLayout1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6.xml"/><Relationship Id="rId1" Type="http://schemas.openxmlformats.org/officeDocument/2006/relationships/slideLayout" Target="../slideLayouts/slideLayout18.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7.xml"/><Relationship Id="rId7" Type="http://schemas.openxmlformats.org/officeDocument/2006/relationships/image" Target="../media/image2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6.emf"/><Relationship Id="rId5" Type="http://schemas.openxmlformats.org/officeDocument/2006/relationships/oleObject" Target="../embeddings/oleObject1.bin"/><Relationship Id="rId10" Type="http://schemas.openxmlformats.org/officeDocument/2006/relationships/image" Target="../media/image30.jpeg"/><Relationship Id="rId4" Type="http://schemas.openxmlformats.org/officeDocument/2006/relationships/notesSlide" Target="../notesSlides/notesSlide19.xml"/><Relationship Id="rId9" Type="http://schemas.openxmlformats.org/officeDocument/2006/relationships/image" Target="../media/image2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1.xml.rels><?xml version="1.0" encoding="UTF-8" standalone="yes"?>
<Relationships xmlns="http://schemas.openxmlformats.org/package/2006/relationships"><Relationship Id="rId3" Type="http://schemas.openxmlformats.org/officeDocument/2006/relationships/hyperlink" Target="https://tealprod.tea.state.tx.us/TWEDS/96/0/0/0/DataSubmission/TimeLineByDueDate" TargetMode="External"/><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hyperlink" Target="mailto:TSDSDeployment@tea.texas.gov" TargetMode="External"/><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hyperlink" Target="https://techdocs.ed-fi.org/display/ODSAPIS3V53/Resource+Dependency+Order" TargetMode="External"/><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hyperlink" Target="https://techdocs.ed-fi.org/display/EFDS320c/Ed-Fi+Data+Standard+v3.2.0-c" TargetMode="External"/><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B326E79C-81B1-4F65-9171-E8A934EF331C}"/>
              </a:ext>
            </a:extLst>
          </p:cNvPr>
          <p:cNvSpPr txBox="1">
            <a:spLocks noGrp="1"/>
          </p:cNvSpPr>
          <p:nvPr>
            <p:ph type="title" idx="4294967295"/>
          </p:nvPr>
        </p:nvSpPr>
        <p:spPr>
          <a:xfrm>
            <a:off x="2033890" y="5793635"/>
            <a:ext cx="9630770" cy="7513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90000"/>
          </a:bodyPr>
          <a:lstStyle>
            <a:lvl1pPr algn="l" defTabSz="914400" rtl="0" eaLnBrk="1" latinLnBrk="0" hangingPunct="1">
              <a:lnSpc>
                <a:spcPct val="90000"/>
              </a:lnSpc>
              <a:spcBef>
                <a:spcPct val="0"/>
              </a:spcBef>
              <a:buNone/>
              <a:defRPr sz="5400" b="1" kern="1200">
                <a:solidFill>
                  <a:schemeClr val="accent1"/>
                </a:solidFill>
                <a:latin typeface="+mn-lt"/>
                <a:ea typeface="+mj-ea"/>
                <a:cs typeface="+mj-cs"/>
              </a:defRPr>
            </a:lvl1pPr>
          </a:lstStyle>
          <a:p>
            <a:pPr>
              <a:defRPr/>
            </a:pPr>
            <a:r>
              <a:rPr lang="en-US">
                <a:cs typeface="Calibri"/>
              </a:rPr>
              <a:t>ODS 3.x Vendor Presentation</a:t>
            </a:r>
            <a:endParaRPr kumimoji="0" lang="en-US" sz="5400" b="1" i="0" u="none" strike="noStrike" kern="1200" cap="none" spc="0" normalizeH="0" baseline="0" noProof="0">
              <a:ln>
                <a:noFill/>
              </a:ln>
              <a:effectLst/>
              <a:uLnTx/>
              <a:uFillTx/>
              <a:latin typeface="+mn-lt"/>
              <a:ea typeface="+mj-ea"/>
              <a:cs typeface="+mj-cs"/>
            </a:endParaRPr>
          </a:p>
        </p:txBody>
      </p:sp>
    </p:spTree>
    <p:extLst>
      <p:ext uri="{BB962C8B-B14F-4D97-AF65-F5344CB8AC3E}">
        <p14:creationId xmlns:p14="http://schemas.microsoft.com/office/powerpoint/2010/main" val="21718172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E075C2F8-25C1-4A63-BA57-311286B1AB73}"/>
              </a:ext>
            </a:extLst>
          </p:cNvPr>
          <p:cNvGraphicFramePr>
            <a:graphicFrameLocks noGrp="1"/>
          </p:cNvGraphicFramePr>
          <p:nvPr>
            <p:ph idx="1"/>
          </p:nvPr>
        </p:nvGraphicFramePr>
        <p:xfrm>
          <a:off x="2180365" y="2285140"/>
          <a:ext cx="4343265"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AA7E32F8-50AA-4E81-8319-AC3C9B3094B2}"/>
              </a:ext>
            </a:extLst>
          </p:cNvPr>
          <p:cNvSpPr>
            <a:spLocks noGrp="1"/>
          </p:cNvSpPr>
          <p:nvPr>
            <p:ph type="title"/>
          </p:nvPr>
        </p:nvSpPr>
        <p:spPr/>
        <p:txBody>
          <a:bodyPr>
            <a:noAutofit/>
          </a:bodyPr>
          <a:lstStyle/>
          <a:p>
            <a:r>
              <a:rPr lang="en-US"/>
              <a:t>PARTICIPATING PILOT VENDORS</a:t>
            </a:r>
          </a:p>
        </p:txBody>
      </p:sp>
      <p:graphicFrame>
        <p:nvGraphicFramePr>
          <p:cNvPr id="6" name="Content Placeholder 3">
            <a:extLst>
              <a:ext uri="{FF2B5EF4-FFF2-40B4-BE49-F238E27FC236}">
                <a16:creationId xmlns:a16="http://schemas.microsoft.com/office/drawing/2014/main" id="{4D10862E-A253-4B25-9A72-848CFAED5823}"/>
              </a:ext>
            </a:extLst>
          </p:cNvPr>
          <p:cNvGraphicFramePr>
            <a:graphicFrameLocks/>
          </p:cNvGraphicFramePr>
          <p:nvPr/>
        </p:nvGraphicFramePr>
        <p:xfrm>
          <a:off x="7136777" y="2285140"/>
          <a:ext cx="4343265" cy="435133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Content Placeholder 4">
            <a:extLst>
              <a:ext uri="{FF2B5EF4-FFF2-40B4-BE49-F238E27FC236}">
                <a16:creationId xmlns:a16="http://schemas.microsoft.com/office/drawing/2014/main" id="{9AF62422-FF29-4BAE-AB9A-D77B0172D6ED}"/>
              </a:ext>
            </a:extLst>
          </p:cNvPr>
          <p:cNvSpPr txBox="1">
            <a:spLocks/>
          </p:cNvSpPr>
          <p:nvPr/>
        </p:nvSpPr>
        <p:spPr>
          <a:xfrm>
            <a:off x="2136839" y="1042804"/>
            <a:ext cx="9489103" cy="5772100"/>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tx1">
                    <a:lumMod val="65000"/>
                    <a:lumOff val="35000"/>
                  </a:schemeClr>
                </a:solidFill>
                <a:latin typeface="+mn-lt"/>
                <a:ea typeface="+mn-ea"/>
                <a:cs typeface="+mn-cs"/>
              </a:defRPr>
            </a:lvl1pPr>
            <a:lvl2pPr marL="800100" indent="-342900" algn="l" defTabSz="914400" rtl="0" eaLnBrk="1" latinLnBrk="0" hangingPunct="1">
              <a:lnSpc>
                <a:spcPct val="90000"/>
              </a:lnSpc>
              <a:spcBef>
                <a:spcPts val="500"/>
              </a:spcBef>
              <a:buClr>
                <a:srgbClr val="0D6CB9"/>
              </a:buClr>
              <a:buFont typeface="Arial" panose="020B0604020202020204" pitchFamily="34" charset="0"/>
              <a:buChar char="•"/>
              <a:defRPr sz="24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2"/>
              </a:buClr>
              <a:buSzPct val="75000"/>
              <a:buFont typeface="Courier New" panose="02070309020205020404" pitchFamily="49" charset="0"/>
              <a:buChar char="o"/>
              <a:defRPr sz="20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Clr>
                <a:srgbClr val="0D6CB9"/>
              </a:buClr>
              <a:buFont typeface="Arial" panose="020B0604020202020204" pitchFamily="34" charset="0"/>
              <a:buChar char="•"/>
              <a:defRPr sz="18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600" b="1"/>
              <a:t>Vendor Cohort</a:t>
            </a:r>
            <a:r>
              <a:rPr lang="en-US" sz="2600"/>
              <a:t>: The following vendors have committed to the pilot program. TEA continues to communicate and provide guidance to all source system vendor through frequent webinars.</a:t>
            </a:r>
            <a:endParaRPr lang="en-US" sz="2600" b="1"/>
          </a:p>
        </p:txBody>
      </p:sp>
    </p:spTree>
    <p:extLst>
      <p:ext uri="{BB962C8B-B14F-4D97-AF65-F5344CB8AC3E}">
        <p14:creationId xmlns:p14="http://schemas.microsoft.com/office/powerpoint/2010/main" val="5676525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942845-BD5A-42C5-A5C4-13339DD507AB}"/>
              </a:ext>
            </a:extLst>
          </p:cNvPr>
          <p:cNvSpPr>
            <a:spLocks noGrp="1"/>
          </p:cNvSpPr>
          <p:nvPr>
            <p:ph type="title"/>
          </p:nvPr>
        </p:nvSpPr>
        <p:spPr>
          <a:xfrm>
            <a:off x="2201841" y="167275"/>
            <a:ext cx="9630770" cy="751350"/>
          </a:xfrm>
        </p:spPr>
        <p:txBody>
          <a:bodyPr>
            <a:normAutofit/>
          </a:bodyPr>
          <a:lstStyle/>
          <a:p>
            <a:r>
              <a:rPr lang="en-US">
                <a:cs typeface="Calibri"/>
              </a:rPr>
              <a:t>TECHNICAL RESOURCES &amp; GUIDANCE</a:t>
            </a:r>
            <a:endParaRPr lang="en-US"/>
          </a:p>
        </p:txBody>
      </p:sp>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1" y="994473"/>
            <a:ext cx="9773494" cy="6146556"/>
          </a:xfrm>
        </p:spPr>
        <p:txBody>
          <a:bodyPr lIns="91440" tIns="45720" rIns="91440" bIns="45720" anchor="t"/>
          <a:lstStyle/>
          <a:p>
            <a:r>
              <a:rPr lang="en-US" sz="2400" b="1">
                <a:cs typeface="Calibri"/>
              </a:rPr>
              <a:t>Texas Education Data Standards</a:t>
            </a:r>
          </a:p>
          <a:p>
            <a:pPr marL="857250" lvl="1">
              <a:buFont typeface="Arial"/>
              <a:buChar char="•"/>
            </a:pPr>
            <a:r>
              <a:rPr lang="en-US" sz="2000">
                <a:cs typeface="Calibri"/>
              </a:rPr>
              <a:t>October 2021</a:t>
            </a:r>
          </a:p>
          <a:p>
            <a:pPr marL="1200150" lvl="2">
              <a:buFont typeface="Arial"/>
              <a:buChar char="•"/>
            </a:pPr>
            <a:r>
              <a:rPr lang="en-US" sz="1800">
                <a:cs typeface="Calibri"/>
              </a:rPr>
              <a:t>Initial ODS 3.x Business Document </a:t>
            </a:r>
          </a:p>
          <a:p>
            <a:pPr marL="857250" lvl="1">
              <a:buFont typeface="Arial"/>
              <a:buChar char="•"/>
            </a:pPr>
            <a:r>
              <a:rPr lang="en-US" sz="2000">
                <a:cs typeface="Calibri"/>
              </a:rPr>
              <a:t>December 2021</a:t>
            </a:r>
          </a:p>
          <a:p>
            <a:pPr marL="1200150" lvl="2">
              <a:buFont typeface="Arial"/>
              <a:buChar char="•"/>
            </a:pPr>
            <a:r>
              <a:rPr lang="en-US" sz="1800">
                <a:cs typeface="Calibri"/>
              </a:rPr>
              <a:t>2021-2022 ODS 3.x Near-Final &amp; 2022-2023 ODS 3.x Preliminary </a:t>
            </a:r>
          </a:p>
          <a:p>
            <a:pPr marL="857250" lvl="1">
              <a:buFont typeface="Arial"/>
              <a:buChar char="•"/>
            </a:pPr>
            <a:r>
              <a:rPr lang="en-US" sz="2000">
                <a:cs typeface="Calibri"/>
              </a:rPr>
              <a:t>March 2022</a:t>
            </a:r>
          </a:p>
          <a:p>
            <a:pPr marL="1200150" lvl="2">
              <a:buFont typeface="Arial"/>
              <a:buChar char="•"/>
            </a:pPr>
            <a:r>
              <a:rPr lang="en-US" sz="1800">
                <a:cs typeface="Calibri"/>
              </a:rPr>
              <a:t>2021-2022 ODS 3.x Final &amp; 2022-2023 ODS 3.x Final </a:t>
            </a:r>
          </a:p>
          <a:p>
            <a:pPr marL="1200150" lvl="2">
              <a:buFont typeface="Arial"/>
              <a:buChar char="•"/>
            </a:pPr>
            <a:endParaRPr lang="en-US" sz="1000">
              <a:cs typeface="Calibri"/>
            </a:endParaRPr>
          </a:p>
          <a:p>
            <a:r>
              <a:rPr lang="en-US" sz="2400" b="1">
                <a:cs typeface="Calibri"/>
              </a:rPr>
              <a:t>Technical Guides</a:t>
            </a:r>
          </a:p>
          <a:p>
            <a:pPr marL="857250" lvl="1">
              <a:buFont typeface="Arial"/>
              <a:buChar char="•"/>
            </a:pPr>
            <a:r>
              <a:rPr lang="en-US" sz="2000">
                <a:cs typeface="Calibri"/>
              </a:rPr>
              <a:t>December 2021</a:t>
            </a:r>
          </a:p>
          <a:p>
            <a:pPr marL="1200150" lvl="2">
              <a:buFont typeface="Arial"/>
              <a:buChar char="•"/>
            </a:pPr>
            <a:r>
              <a:rPr lang="en-US" sz="1800">
                <a:cs typeface="Calibri"/>
              </a:rPr>
              <a:t>SDK Installation Guide &amp; TSDS Implementation Guide </a:t>
            </a:r>
          </a:p>
          <a:p>
            <a:pPr marL="1200150" lvl="2">
              <a:buFont typeface="Arial"/>
              <a:buChar char="•"/>
            </a:pPr>
            <a:endParaRPr lang="en-US" sz="1000">
              <a:cs typeface="Calibri"/>
            </a:endParaRPr>
          </a:p>
          <a:p>
            <a:r>
              <a:rPr lang="en-US" sz="2400" b="1">
                <a:cs typeface="Calibri"/>
              </a:rPr>
              <a:t>Communications</a:t>
            </a:r>
            <a:r>
              <a:rPr lang="en-US" b="1">
                <a:cs typeface="Calibri"/>
              </a:rPr>
              <a:t> </a:t>
            </a:r>
          </a:p>
          <a:p>
            <a:pPr marL="857250" lvl="1">
              <a:buFont typeface="Arial"/>
              <a:buChar char="•"/>
            </a:pPr>
            <a:r>
              <a:rPr lang="en-US" sz="2000">
                <a:cs typeface="Calibri"/>
              </a:rPr>
              <a:t>May 2021 – present</a:t>
            </a:r>
          </a:p>
          <a:p>
            <a:pPr marL="1200150" lvl="2">
              <a:buFont typeface="Arial"/>
              <a:buChar char="•"/>
            </a:pPr>
            <a:r>
              <a:rPr lang="en-US" sz="1800">
                <a:cs typeface="Calibri"/>
              </a:rPr>
              <a:t>Six statewide ODS 3.x vendor webinars</a:t>
            </a:r>
          </a:p>
          <a:p>
            <a:pPr marL="857250" lvl="1">
              <a:buFont typeface="Arial"/>
              <a:buChar char="•"/>
            </a:pPr>
            <a:r>
              <a:rPr lang="en-US" sz="2000">
                <a:cs typeface="Calibri"/>
              </a:rPr>
              <a:t>December 2021 – present </a:t>
            </a:r>
          </a:p>
          <a:p>
            <a:pPr marL="1200150" lvl="2">
              <a:buFont typeface="Arial"/>
              <a:buChar char="•"/>
            </a:pPr>
            <a:r>
              <a:rPr lang="en-US" sz="1800">
                <a:cs typeface="Calibri"/>
              </a:rPr>
              <a:t>TSDS ODS 3.x vendor coordination and scheduled vendor pilot cohort meetings </a:t>
            </a:r>
          </a:p>
          <a:p>
            <a:pPr marL="285750" indent="-285750" algn="l">
              <a:buFont typeface="Arial"/>
              <a:buChar char="•"/>
            </a:pPr>
            <a:endParaRPr lang="en-US" b="0" i="0">
              <a:effectLst/>
              <a:latin typeface="Calibri"/>
              <a:cs typeface="Calibri"/>
            </a:endParaRPr>
          </a:p>
          <a:p>
            <a:pPr marL="285750" indent="-285750">
              <a:buFont typeface="Arial"/>
              <a:buChar char="•"/>
            </a:pPr>
            <a:endParaRPr lang="en-US">
              <a:latin typeface="Calibri" panose="020F0502020204030204"/>
              <a:cs typeface="Calibri"/>
            </a:endParaRPr>
          </a:p>
          <a:p>
            <a:pPr marL="0" indent="0">
              <a:buNone/>
            </a:pPr>
            <a:endParaRPr lang="en-US">
              <a:latin typeface="Segoe UI" panose="020B0502040204020203" pitchFamily="34" charset="0"/>
              <a:cs typeface="Segoe UI" panose="020B0502040204020203" pitchFamily="34" charset="0"/>
            </a:endParaRPr>
          </a:p>
          <a:p>
            <a:pPr marL="0" indent="0">
              <a:buNone/>
            </a:pPr>
            <a:endParaRPr lang="en-US">
              <a:latin typeface="Calibri" panose="020F0502020204030204"/>
              <a:cs typeface="Calibri" panose="020F0502020204030204"/>
            </a:endParaRPr>
          </a:p>
        </p:txBody>
      </p:sp>
    </p:spTree>
    <p:extLst>
      <p:ext uri="{BB962C8B-B14F-4D97-AF65-F5344CB8AC3E}">
        <p14:creationId xmlns:p14="http://schemas.microsoft.com/office/powerpoint/2010/main" val="33691732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BD342D0-55C1-4F53-9432-BD7EDBDCC220}"/>
              </a:ext>
            </a:extLst>
          </p:cNvPr>
          <p:cNvSpPr>
            <a:spLocks noGrp="1"/>
          </p:cNvSpPr>
          <p:nvPr>
            <p:ph type="title"/>
          </p:nvPr>
        </p:nvSpPr>
        <p:spPr/>
        <p:txBody>
          <a:bodyPr>
            <a:noAutofit/>
          </a:bodyPr>
          <a:lstStyle/>
          <a:p>
            <a:r>
              <a:rPr lang="en-US">
                <a:cs typeface="Calibri"/>
              </a:rPr>
              <a:t>VENDOR COMMUNICATIONS </a:t>
            </a:r>
            <a:endParaRPr lang="en-US"/>
          </a:p>
        </p:txBody>
      </p:sp>
      <p:graphicFrame>
        <p:nvGraphicFramePr>
          <p:cNvPr id="6" name="Content Placeholder 5">
            <a:extLst>
              <a:ext uri="{FF2B5EF4-FFF2-40B4-BE49-F238E27FC236}">
                <a16:creationId xmlns:a16="http://schemas.microsoft.com/office/drawing/2014/main" id="{579B30AE-CFFC-4F93-8989-614D0AE2FF2F}"/>
              </a:ext>
            </a:extLst>
          </p:cNvPr>
          <p:cNvGraphicFramePr>
            <a:graphicFrameLocks noGrp="1"/>
          </p:cNvGraphicFramePr>
          <p:nvPr>
            <p:ph idx="1"/>
          </p:nvPr>
        </p:nvGraphicFramePr>
        <p:xfrm>
          <a:off x="2730054" y="2300647"/>
          <a:ext cx="8256396" cy="43321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4">
            <a:extLst>
              <a:ext uri="{FF2B5EF4-FFF2-40B4-BE49-F238E27FC236}">
                <a16:creationId xmlns:a16="http://schemas.microsoft.com/office/drawing/2014/main" id="{B2388BF2-E696-4044-988C-808977E34C8A}"/>
              </a:ext>
            </a:extLst>
          </p:cNvPr>
          <p:cNvSpPr txBox="1">
            <a:spLocks/>
          </p:cNvSpPr>
          <p:nvPr/>
        </p:nvSpPr>
        <p:spPr>
          <a:xfrm>
            <a:off x="2136839" y="1042804"/>
            <a:ext cx="9489103" cy="5772100"/>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tx1">
                    <a:lumMod val="65000"/>
                    <a:lumOff val="35000"/>
                  </a:schemeClr>
                </a:solidFill>
                <a:latin typeface="+mn-lt"/>
                <a:ea typeface="+mn-ea"/>
                <a:cs typeface="+mn-cs"/>
              </a:defRPr>
            </a:lvl1pPr>
            <a:lvl2pPr marL="800100" indent="-342900" algn="l" defTabSz="914400" rtl="0" eaLnBrk="1" latinLnBrk="0" hangingPunct="1">
              <a:lnSpc>
                <a:spcPct val="90000"/>
              </a:lnSpc>
              <a:spcBef>
                <a:spcPts val="500"/>
              </a:spcBef>
              <a:buClr>
                <a:srgbClr val="0D6CB9"/>
              </a:buClr>
              <a:buFont typeface="Arial" panose="020B0604020202020204" pitchFamily="34" charset="0"/>
              <a:buChar char="•"/>
              <a:defRPr sz="24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2"/>
              </a:buClr>
              <a:buSzPct val="75000"/>
              <a:buFont typeface="Courier New" panose="02070309020205020404" pitchFamily="49" charset="0"/>
              <a:buChar char="o"/>
              <a:defRPr sz="20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Clr>
                <a:srgbClr val="0D6CB9"/>
              </a:buClr>
              <a:buFont typeface="Arial" panose="020B0604020202020204" pitchFamily="34" charset="0"/>
              <a:buChar char="•"/>
              <a:defRPr sz="18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600" b="1"/>
              <a:t>WEBINARS</a:t>
            </a:r>
            <a:r>
              <a:rPr lang="en-US" sz="2600"/>
              <a:t>: TEA has conducted the following statewide webinars for sources system vendors to attend and receive information and guidance on this project. </a:t>
            </a:r>
            <a:endParaRPr lang="en-US" sz="1000" b="1"/>
          </a:p>
        </p:txBody>
      </p:sp>
    </p:spTree>
    <p:extLst>
      <p:ext uri="{BB962C8B-B14F-4D97-AF65-F5344CB8AC3E}">
        <p14:creationId xmlns:p14="http://schemas.microsoft.com/office/powerpoint/2010/main" val="15354315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ADAD25-0C02-465D-BD1B-34FCEE1FB105}"/>
              </a:ext>
            </a:extLst>
          </p:cNvPr>
          <p:cNvSpPr>
            <a:spLocks noGrp="1"/>
          </p:cNvSpPr>
          <p:nvPr>
            <p:ph type="title"/>
          </p:nvPr>
        </p:nvSpPr>
        <p:spPr/>
        <p:txBody>
          <a:bodyPr>
            <a:normAutofit fontScale="90000"/>
          </a:bodyPr>
          <a:lstStyle/>
          <a:p>
            <a:r>
              <a:rPr lang="en-US"/>
              <a:t>MINI-PILOT: END-TO-END TESTING</a:t>
            </a:r>
          </a:p>
        </p:txBody>
      </p:sp>
      <p:graphicFrame>
        <p:nvGraphicFramePr>
          <p:cNvPr id="2" name="Diagram 1">
            <a:extLst>
              <a:ext uri="{FF2B5EF4-FFF2-40B4-BE49-F238E27FC236}">
                <a16:creationId xmlns:a16="http://schemas.microsoft.com/office/drawing/2014/main" id="{9B3F2E1D-AE7E-497E-BF10-34165EABB3BD}"/>
              </a:ext>
            </a:extLst>
          </p:cNvPr>
          <p:cNvGraphicFramePr/>
          <p:nvPr>
            <p:extLst>
              <p:ext uri="{D42A27DB-BD31-4B8C-83A1-F6EECF244321}">
                <p14:modId xmlns:p14="http://schemas.microsoft.com/office/powerpoint/2010/main" val="1922674587"/>
              </p:ext>
            </p:extLst>
          </p:nvPr>
        </p:nvGraphicFramePr>
        <p:xfrm>
          <a:off x="2212291" y="1104057"/>
          <a:ext cx="9979710" cy="54865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214733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603A024-A7BC-49FB-A888-A9611E7850D4}"/>
              </a:ext>
            </a:extLst>
          </p:cNvPr>
          <p:cNvSpPr>
            <a:spLocks noGrp="1"/>
          </p:cNvSpPr>
          <p:nvPr>
            <p:ph type="title"/>
          </p:nvPr>
        </p:nvSpPr>
        <p:spPr/>
        <p:txBody>
          <a:bodyPr/>
          <a:lstStyle/>
          <a:p>
            <a:r>
              <a:rPr lang="en-US"/>
              <a:t>PARALLEL SUBMISSION</a:t>
            </a:r>
          </a:p>
        </p:txBody>
      </p:sp>
      <p:sp>
        <p:nvSpPr>
          <p:cNvPr id="8" name="Content Placeholder 7">
            <a:extLst>
              <a:ext uri="{FF2B5EF4-FFF2-40B4-BE49-F238E27FC236}">
                <a16:creationId xmlns:a16="http://schemas.microsoft.com/office/drawing/2014/main" id="{5C6267B8-1789-4E79-A5C7-21A61C000E94}"/>
              </a:ext>
            </a:extLst>
          </p:cNvPr>
          <p:cNvSpPr>
            <a:spLocks noGrp="1"/>
          </p:cNvSpPr>
          <p:nvPr>
            <p:ph idx="1"/>
          </p:nvPr>
        </p:nvSpPr>
        <p:spPr>
          <a:xfrm>
            <a:off x="2246780" y="1244479"/>
            <a:ext cx="4871557" cy="4402455"/>
          </a:xfrm>
        </p:spPr>
        <p:txBody>
          <a:bodyPr/>
          <a:lstStyle/>
          <a:p>
            <a:pPr marL="0" indent="0">
              <a:buNone/>
            </a:pPr>
            <a:r>
              <a:rPr lang="en-US" sz="3200" b="1"/>
              <a:t>2022-2023</a:t>
            </a:r>
            <a:r>
              <a:rPr lang="en-US" sz="3200"/>
              <a:t>: Parallel Year</a:t>
            </a:r>
          </a:p>
          <a:p>
            <a:pPr lvl="1"/>
            <a:endParaRPr lang="en-US" sz="2800" b="1">
              <a:solidFill>
                <a:schemeClr val="accent2"/>
              </a:solidFill>
            </a:endParaRPr>
          </a:p>
          <a:p>
            <a:pPr lvl="1"/>
            <a:r>
              <a:rPr lang="en-US" sz="2600" b="1"/>
              <a:t>LEAs will submit both XML and API data  </a:t>
            </a:r>
          </a:p>
          <a:p>
            <a:pPr lvl="1"/>
            <a:endParaRPr lang="en-US" sz="2600" b="1"/>
          </a:p>
          <a:p>
            <a:pPr lvl="1"/>
            <a:r>
              <a:rPr lang="en-US" sz="2600" b="1"/>
              <a:t>LEAs will validate against reports and validations</a:t>
            </a:r>
          </a:p>
          <a:p>
            <a:pPr lvl="1"/>
            <a:endParaRPr lang="en-US" sz="2600" b="1"/>
          </a:p>
          <a:p>
            <a:pPr lvl="1"/>
            <a:r>
              <a:rPr lang="en-US" sz="2600" b="1"/>
              <a:t>Obtain TSDS compatible designation</a:t>
            </a:r>
          </a:p>
          <a:p>
            <a:endParaRPr lang="en-US" sz="3600"/>
          </a:p>
          <a:p>
            <a:endParaRPr lang="en-US"/>
          </a:p>
        </p:txBody>
      </p:sp>
      <p:sp>
        <p:nvSpPr>
          <p:cNvPr id="9" name="Text Placeholder 8">
            <a:extLst>
              <a:ext uri="{FF2B5EF4-FFF2-40B4-BE49-F238E27FC236}">
                <a16:creationId xmlns:a16="http://schemas.microsoft.com/office/drawing/2014/main" id="{C1C1F9F0-2AAE-46AF-AC60-414E85A86FFC}"/>
              </a:ext>
            </a:extLst>
          </p:cNvPr>
          <p:cNvSpPr>
            <a:spLocks noGrp="1"/>
          </p:cNvSpPr>
          <p:nvPr>
            <p:ph type="body" sz="quarter" idx="13"/>
          </p:nvPr>
        </p:nvSpPr>
        <p:spPr>
          <a:xfrm>
            <a:off x="7206713" y="1244479"/>
            <a:ext cx="4633992" cy="4494819"/>
          </a:xfrm>
          <a:solidFill>
            <a:schemeClr val="accent1"/>
          </a:solidFill>
        </p:spPr>
        <p:txBody>
          <a:bodyPr/>
          <a:lstStyle/>
          <a:p>
            <a:pPr marL="0" indent="0" algn="ctr">
              <a:buNone/>
            </a:pPr>
            <a:r>
              <a:rPr lang="en-US" sz="3200" b="1">
                <a:solidFill>
                  <a:schemeClr val="bg1"/>
                </a:solidFill>
              </a:rPr>
              <a:t>2023-2024</a:t>
            </a:r>
            <a:r>
              <a:rPr lang="en-US" sz="3200">
                <a:solidFill>
                  <a:schemeClr val="bg1"/>
                </a:solidFill>
              </a:rPr>
              <a:t>: Go-Live Year</a:t>
            </a:r>
          </a:p>
          <a:p>
            <a:pPr marL="742950" lvl="1" indent="-285750"/>
            <a:endParaRPr lang="en-US" sz="2800" b="1">
              <a:solidFill>
                <a:schemeClr val="bg1"/>
              </a:solidFill>
            </a:endParaRPr>
          </a:p>
          <a:p>
            <a:pPr marL="742950" lvl="1" indent="-285750"/>
            <a:r>
              <a:rPr lang="en-US" sz="2600" b="1">
                <a:solidFill>
                  <a:schemeClr val="bg1"/>
                </a:solidFill>
              </a:rPr>
              <a:t>Only API transactions will be accepted for TSDS</a:t>
            </a:r>
          </a:p>
          <a:p>
            <a:pPr marL="457200" lvl="1" indent="0">
              <a:buNone/>
            </a:pPr>
            <a:endParaRPr lang="en-US" sz="2600" b="1">
              <a:solidFill>
                <a:schemeClr val="bg1"/>
              </a:solidFill>
            </a:endParaRPr>
          </a:p>
          <a:p>
            <a:pPr marL="742950" lvl="1" indent="-285750"/>
            <a:r>
              <a:rPr lang="en-US" sz="2600" b="1">
                <a:solidFill>
                  <a:schemeClr val="bg1"/>
                </a:solidFill>
              </a:rPr>
              <a:t>XML data loads will </a:t>
            </a:r>
            <a:r>
              <a:rPr lang="en-US" sz="2600" b="1" u="sng">
                <a:solidFill>
                  <a:schemeClr val="bg1"/>
                </a:solidFill>
              </a:rPr>
              <a:t>not</a:t>
            </a:r>
            <a:r>
              <a:rPr lang="en-US" sz="2600" b="1">
                <a:solidFill>
                  <a:schemeClr val="bg1"/>
                </a:solidFill>
              </a:rPr>
              <a:t> be available</a:t>
            </a:r>
          </a:p>
          <a:p>
            <a:pPr marL="742950" lvl="1" indent="-285750"/>
            <a:endParaRPr lang="en-US" sz="2600" b="1">
              <a:solidFill>
                <a:schemeClr val="bg1"/>
              </a:solidFill>
            </a:endParaRPr>
          </a:p>
          <a:p>
            <a:pPr marL="742950" lvl="1" indent="-285750"/>
            <a:r>
              <a:rPr lang="en-US" sz="2600" b="1">
                <a:solidFill>
                  <a:schemeClr val="bg1"/>
                </a:solidFill>
              </a:rPr>
              <a:t>Complete vendor readiness </a:t>
            </a:r>
          </a:p>
          <a:p>
            <a:endParaRPr lang="en-US" sz="2800">
              <a:solidFill>
                <a:schemeClr val="bg1"/>
              </a:solidFill>
            </a:endParaRPr>
          </a:p>
        </p:txBody>
      </p:sp>
      <p:sp>
        <p:nvSpPr>
          <p:cNvPr id="5" name="TextBox 4">
            <a:extLst>
              <a:ext uri="{FF2B5EF4-FFF2-40B4-BE49-F238E27FC236}">
                <a16:creationId xmlns:a16="http://schemas.microsoft.com/office/drawing/2014/main" id="{23C52C92-1F6D-4198-B06B-44D78E76F676}"/>
              </a:ext>
            </a:extLst>
          </p:cNvPr>
          <p:cNvSpPr txBox="1"/>
          <p:nvPr/>
        </p:nvSpPr>
        <p:spPr>
          <a:xfrm>
            <a:off x="2481908" y="5739298"/>
            <a:ext cx="9272859" cy="954107"/>
          </a:xfrm>
          <a:prstGeom prst="rect">
            <a:avLst/>
          </a:prstGeom>
          <a:noFill/>
        </p:spPr>
        <p:txBody>
          <a:bodyPr wrap="none" rtlCol="0">
            <a:spAutoFit/>
          </a:bodyPr>
          <a:lstStyle/>
          <a:p>
            <a:r>
              <a:rPr lang="en-US" sz="2800"/>
              <a:t>For the </a:t>
            </a:r>
            <a:r>
              <a:rPr lang="en-US" sz="2800" b="1"/>
              <a:t>2022-2023 parallel submission </a:t>
            </a:r>
            <a:r>
              <a:rPr lang="en-US" sz="2800"/>
              <a:t>year, TEA would expect </a:t>
            </a:r>
          </a:p>
          <a:p>
            <a:r>
              <a:rPr lang="en-US" sz="2800"/>
              <a:t>to have </a:t>
            </a:r>
            <a:r>
              <a:rPr lang="en-US" sz="2800" b="1"/>
              <a:t>250 LEAs </a:t>
            </a:r>
            <a:r>
              <a:rPr lang="en-US" sz="2800"/>
              <a:t>participating to ensure system readiness.</a:t>
            </a:r>
          </a:p>
        </p:txBody>
      </p:sp>
    </p:spTree>
    <p:extLst>
      <p:ext uri="{BB962C8B-B14F-4D97-AF65-F5344CB8AC3E}">
        <p14:creationId xmlns:p14="http://schemas.microsoft.com/office/powerpoint/2010/main" val="28445962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ADAD25-0C02-465D-BD1B-34FCEE1FB105}"/>
              </a:ext>
            </a:extLst>
          </p:cNvPr>
          <p:cNvSpPr>
            <a:spLocks noGrp="1"/>
          </p:cNvSpPr>
          <p:nvPr>
            <p:ph type="title"/>
          </p:nvPr>
        </p:nvSpPr>
        <p:spPr/>
        <p:txBody>
          <a:bodyPr>
            <a:noAutofit/>
          </a:bodyPr>
          <a:lstStyle/>
          <a:p>
            <a:r>
              <a:rPr lang="en-US">
                <a:cs typeface="Calibri"/>
              </a:rPr>
              <a:t>PREPARING FOR PARALLEL SUBMISSION</a:t>
            </a:r>
            <a:endParaRPr lang="en-US"/>
          </a:p>
        </p:txBody>
      </p:sp>
      <p:graphicFrame>
        <p:nvGraphicFramePr>
          <p:cNvPr id="2" name="Diagram 1">
            <a:extLst>
              <a:ext uri="{FF2B5EF4-FFF2-40B4-BE49-F238E27FC236}">
                <a16:creationId xmlns:a16="http://schemas.microsoft.com/office/drawing/2014/main" id="{9B3F2E1D-AE7E-497E-BF10-34165EABB3BD}"/>
              </a:ext>
            </a:extLst>
          </p:cNvPr>
          <p:cNvGraphicFramePr/>
          <p:nvPr>
            <p:extLst>
              <p:ext uri="{D42A27DB-BD31-4B8C-83A1-F6EECF244321}">
                <p14:modId xmlns:p14="http://schemas.microsoft.com/office/powerpoint/2010/main" val="3801817290"/>
              </p:ext>
            </p:extLst>
          </p:nvPr>
        </p:nvGraphicFramePr>
        <p:xfrm>
          <a:off x="2212291" y="1104057"/>
          <a:ext cx="9979710" cy="54865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690969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1C04E553-9D89-4F1E-BAD5-EAAA716E8326}"/>
              </a:ext>
            </a:extLst>
          </p:cNvPr>
          <p:cNvGraphicFramePr>
            <a:graphicFrameLocks noGrp="1"/>
          </p:cNvGraphicFramePr>
          <p:nvPr>
            <p:ph idx="1"/>
            <p:extLst>
              <p:ext uri="{D42A27DB-BD31-4B8C-83A1-F6EECF244321}">
                <p14:modId xmlns:p14="http://schemas.microsoft.com/office/powerpoint/2010/main" val="123657441"/>
              </p:ext>
            </p:extLst>
          </p:nvPr>
        </p:nvGraphicFramePr>
        <p:xfrm>
          <a:off x="2347913" y="1495424"/>
          <a:ext cx="8988425" cy="4867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7DC3690B-F574-4B27-8FD9-AF85B4334BDD}"/>
              </a:ext>
            </a:extLst>
          </p:cNvPr>
          <p:cNvSpPr>
            <a:spLocks noGrp="1"/>
          </p:cNvSpPr>
          <p:nvPr>
            <p:ph type="title"/>
          </p:nvPr>
        </p:nvSpPr>
        <p:spPr/>
        <p:txBody>
          <a:bodyPr>
            <a:noAutofit/>
          </a:bodyPr>
          <a:lstStyle/>
          <a:p>
            <a:r>
              <a:rPr lang="en-US"/>
              <a:t>ROLES &amp;  RESPONSIBILITIES</a:t>
            </a:r>
          </a:p>
        </p:txBody>
      </p:sp>
    </p:spTree>
    <p:extLst>
      <p:ext uri="{BB962C8B-B14F-4D97-AF65-F5344CB8AC3E}">
        <p14:creationId xmlns:p14="http://schemas.microsoft.com/office/powerpoint/2010/main" val="15457890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942845-BD5A-42C5-A5C4-13339DD507AB}"/>
              </a:ext>
            </a:extLst>
          </p:cNvPr>
          <p:cNvSpPr>
            <a:spLocks noGrp="1"/>
          </p:cNvSpPr>
          <p:nvPr>
            <p:ph type="title"/>
          </p:nvPr>
        </p:nvSpPr>
        <p:spPr>
          <a:xfrm>
            <a:off x="2201841" y="167275"/>
            <a:ext cx="9630770" cy="751350"/>
          </a:xfrm>
        </p:spPr>
        <p:txBody>
          <a:bodyPr>
            <a:normAutofit/>
          </a:bodyPr>
          <a:lstStyle/>
          <a:p>
            <a:r>
              <a:rPr lang="en-US">
                <a:cs typeface="Calibri"/>
              </a:rPr>
              <a:t>TSDS COMPATIBLE DESIGNATION</a:t>
            </a:r>
            <a:endParaRPr lang="en-US"/>
          </a:p>
        </p:txBody>
      </p:sp>
      <p:sp>
        <p:nvSpPr>
          <p:cNvPr id="5" name="Content Placeholder 4">
            <a:extLst>
              <a:ext uri="{FF2B5EF4-FFF2-40B4-BE49-F238E27FC236}">
                <a16:creationId xmlns:a16="http://schemas.microsoft.com/office/drawing/2014/main" id="{1D7006B0-D09E-41C1-AC68-76F2C4270956}"/>
              </a:ext>
            </a:extLst>
          </p:cNvPr>
          <p:cNvSpPr>
            <a:spLocks noGrp="1"/>
          </p:cNvSpPr>
          <p:nvPr>
            <p:ph idx="1"/>
          </p:nvPr>
        </p:nvSpPr>
        <p:spPr>
          <a:xfrm>
            <a:off x="2116999" y="1043164"/>
            <a:ext cx="9228779" cy="5199591"/>
          </a:xfrm>
        </p:spPr>
        <p:txBody>
          <a:bodyPr>
            <a:normAutofit lnSpcReduction="10000"/>
          </a:bodyPr>
          <a:lstStyle/>
          <a:p>
            <a:r>
              <a:rPr lang="en-US"/>
              <a:t>In addition to Ed-Fi certification, TEA will </a:t>
            </a:r>
            <a:r>
              <a:rPr lang="en-US" b="1" u="sng"/>
              <a:t>require</a:t>
            </a:r>
            <a:r>
              <a:rPr lang="en-US"/>
              <a:t> all vendors to complete validation scenarios with LEA partner(s) during the </a:t>
            </a:r>
            <a:r>
              <a:rPr lang="en-US" b="1"/>
              <a:t>2022-2023 parallel submission year</a:t>
            </a:r>
            <a:r>
              <a:rPr lang="en-US"/>
              <a:t>. </a:t>
            </a:r>
          </a:p>
          <a:p>
            <a:pPr marL="114300" indent="0">
              <a:buNone/>
            </a:pPr>
            <a:endParaRPr lang="en-US"/>
          </a:p>
          <a:p>
            <a:pPr marL="342900"/>
            <a:r>
              <a:rPr lang="en-US"/>
              <a:t>Each vendor is expected to partner with at </a:t>
            </a:r>
            <a:r>
              <a:rPr lang="en-US" b="1"/>
              <a:t>least one LEA </a:t>
            </a:r>
            <a:r>
              <a:rPr lang="en-US"/>
              <a:t>to submit data based upon the TEDS 3.x specifications, along with their current XML data submissions.</a:t>
            </a:r>
          </a:p>
          <a:p>
            <a:pPr marL="342900"/>
            <a:endParaRPr lang="en-US"/>
          </a:p>
          <a:p>
            <a:pPr marL="342900"/>
            <a:r>
              <a:rPr lang="en-US"/>
              <a:t>The </a:t>
            </a:r>
            <a:r>
              <a:rPr lang="en-US" b="1"/>
              <a:t>participating</a:t>
            </a:r>
            <a:r>
              <a:rPr lang="en-US"/>
              <a:t> </a:t>
            </a:r>
            <a:r>
              <a:rPr lang="en-US" b="1"/>
              <a:t>LEA(s) will verify </a:t>
            </a:r>
            <a:r>
              <a:rPr lang="en-US"/>
              <a:t>the ODS 3.x data against their official 2022-2023 TSDS submissions to ensure the vendor is </a:t>
            </a:r>
            <a:r>
              <a:rPr lang="en-US" b="1"/>
              <a:t>TSDS compatible </a:t>
            </a:r>
            <a:r>
              <a:rPr lang="en-US"/>
              <a:t>and ensure vendor readiness for the go-live year in 2023-2024. </a:t>
            </a:r>
          </a:p>
        </p:txBody>
      </p:sp>
    </p:spTree>
    <p:extLst>
      <p:ext uri="{BB962C8B-B14F-4D97-AF65-F5344CB8AC3E}">
        <p14:creationId xmlns:p14="http://schemas.microsoft.com/office/powerpoint/2010/main" val="34496682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942845-BD5A-42C5-A5C4-13339DD507AB}"/>
              </a:ext>
            </a:extLst>
          </p:cNvPr>
          <p:cNvSpPr>
            <a:spLocks noGrp="1"/>
          </p:cNvSpPr>
          <p:nvPr>
            <p:ph type="title"/>
          </p:nvPr>
        </p:nvSpPr>
        <p:spPr>
          <a:xfrm>
            <a:off x="2201841" y="167275"/>
            <a:ext cx="9630770" cy="751350"/>
          </a:xfrm>
        </p:spPr>
        <p:txBody>
          <a:bodyPr>
            <a:normAutofit/>
          </a:bodyPr>
          <a:lstStyle/>
          <a:p>
            <a:r>
              <a:rPr lang="en-US">
                <a:cs typeface="Calibri"/>
              </a:rPr>
              <a:t>UPCOMING ESC CHAMPION TRAININGS</a:t>
            </a:r>
            <a:endParaRPr lang="en-US"/>
          </a:p>
        </p:txBody>
      </p:sp>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1" y="1121127"/>
            <a:ext cx="9244683" cy="5455943"/>
          </a:xfrm>
        </p:spPr>
        <p:txBody>
          <a:bodyPr lIns="91440" tIns="45720" rIns="91440" bIns="45720" anchor="t"/>
          <a:lstStyle/>
          <a:p>
            <a:r>
              <a:rPr lang="en-US" b="1">
                <a:latin typeface="Calibri"/>
                <a:ea typeface="+mn-lt"/>
                <a:cs typeface="+mn-lt"/>
              </a:rPr>
              <a:t>TSDS ODS 3.x Technical Training</a:t>
            </a:r>
          </a:p>
          <a:p>
            <a:pPr lvl="1"/>
            <a:r>
              <a:rPr lang="en-US">
                <a:latin typeface="Calibri"/>
                <a:ea typeface="+mn-lt"/>
                <a:cs typeface="+mn-lt"/>
              </a:rPr>
              <a:t>September 7, 2022 / September 13, 2022 / September 20, 2022</a:t>
            </a:r>
          </a:p>
          <a:p>
            <a:pPr lvl="1"/>
            <a:r>
              <a:rPr lang="en-US">
                <a:latin typeface="Calibri"/>
                <a:ea typeface="+mn-lt"/>
                <a:cs typeface="+mn-lt"/>
              </a:rPr>
              <a:t>Audience: currently certified Technical Champions</a:t>
            </a:r>
          </a:p>
          <a:p>
            <a:pPr marL="914400" lvl="2" indent="0">
              <a:buNone/>
            </a:pPr>
            <a:endParaRPr lang="en-US" b="1">
              <a:latin typeface="Calibri"/>
              <a:ea typeface="+mn-lt"/>
              <a:cs typeface="+mn-lt"/>
            </a:endParaRPr>
          </a:p>
          <a:p>
            <a:r>
              <a:rPr lang="en-US" b="1">
                <a:latin typeface="Calibri"/>
                <a:ea typeface="+mn-lt"/>
                <a:cs typeface="+mn-lt"/>
              </a:rPr>
              <a:t>TSDS ODS 3.x Program Area Training</a:t>
            </a:r>
          </a:p>
          <a:p>
            <a:pPr lvl="1"/>
            <a:r>
              <a:rPr lang="en-US">
                <a:latin typeface="Calibri"/>
                <a:ea typeface="+mn-lt"/>
                <a:cs typeface="+mn-lt"/>
              </a:rPr>
              <a:t>September 8, 2022</a:t>
            </a:r>
          </a:p>
          <a:p>
            <a:pPr lvl="1"/>
            <a:r>
              <a:rPr lang="en-US">
                <a:latin typeface="Calibri"/>
                <a:ea typeface="+mn-lt"/>
                <a:cs typeface="+mn-lt"/>
              </a:rPr>
              <a:t>Audience: currently certified in any Program Area</a:t>
            </a:r>
          </a:p>
          <a:p>
            <a:pPr marL="914400" lvl="2" indent="0">
              <a:buNone/>
            </a:pPr>
            <a:endParaRPr lang="en-US">
              <a:latin typeface="Calibri"/>
              <a:ea typeface="+mn-lt"/>
              <a:cs typeface="+mn-lt"/>
            </a:endParaRPr>
          </a:p>
          <a:p>
            <a:r>
              <a:rPr lang="en-US" b="1">
                <a:latin typeface="Calibri"/>
                <a:ea typeface="+mn-lt"/>
                <a:cs typeface="+mn-lt"/>
              </a:rPr>
              <a:t>New User Training </a:t>
            </a:r>
          </a:p>
          <a:p>
            <a:pPr lvl="1"/>
            <a:r>
              <a:rPr lang="en-US">
                <a:latin typeface="Calibri"/>
                <a:ea typeface="+mn-lt"/>
                <a:cs typeface="+mn-lt"/>
              </a:rPr>
              <a:t>October 3-14, 2022 </a:t>
            </a:r>
          </a:p>
          <a:p>
            <a:pPr lvl="1"/>
            <a:r>
              <a:rPr lang="en-US">
                <a:latin typeface="Calibri"/>
                <a:ea typeface="+mn-lt"/>
                <a:cs typeface="+mn-lt"/>
              </a:rPr>
              <a:t>Audience: New ESC Champions </a:t>
            </a:r>
          </a:p>
        </p:txBody>
      </p:sp>
    </p:spTree>
    <p:extLst>
      <p:ext uri="{BB962C8B-B14F-4D97-AF65-F5344CB8AC3E}">
        <p14:creationId xmlns:p14="http://schemas.microsoft.com/office/powerpoint/2010/main" val="27493876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1B76937-EAE5-4352-B4BD-A068735DCECF}"/>
              </a:ext>
            </a:extLst>
          </p:cNvPr>
          <p:cNvSpPr>
            <a:spLocks noGrp="1"/>
          </p:cNvSpPr>
          <p:nvPr>
            <p:ph type="sldNum" sz="quarter" idx="12"/>
          </p:nvPr>
        </p:nvSpPr>
        <p:spPr/>
        <p:txBody>
          <a:bodyPr/>
          <a:lstStyle/>
          <a:p>
            <a:fld id="{0088AB57-2DBE-44A3-AE96-942C49E954BF}" type="slidenum">
              <a:rPr lang="en-US" smtClean="0"/>
              <a:t>19</a:t>
            </a:fld>
            <a:endParaRPr lang="en-US"/>
          </a:p>
        </p:txBody>
      </p:sp>
      <p:graphicFrame>
        <p:nvGraphicFramePr>
          <p:cNvPr id="12" name="Table 12">
            <a:extLst>
              <a:ext uri="{FF2B5EF4-FFF2-40B4-BE49-F238E27FC236}">
                <a16:creationId xmlns:a16="http://schemas.microsoft.com/office/drawing/2014/main" id="{43E7B8A4-C756-4F7F-A217-49FF74749B6A}"/>
              </a:ext>
            </a:extLst>
          </p:cNvPr>
          <p:cNvGraphicFramePr>
            <a:graphicFrameLocks noGrp="1"/>
          </p:cNvGraphicFramePr>
          <p:nvPr>
            <p:ph idx="4294967295"/>
            <p:extLst>
              <p:ext uri="{D42A27DB-BD31-4B8C-83A1-F6EECF244321}">
                <p14:modId xmlns:p14="http://schemas.microsoft.com/office/powerpoint/2010/main" val="876867633"/>
              </p:ext>
            </p:extLst>
          </p:nvPr>
        </p:nvGraphicFramePr>
        <p:xfrm>
          <a:off x="2071171" y="2354973"/>
          <a:ext cx="9657003" cy="3657600"/>
        </p:xfrm>
        <a:graphic>
          <a:graphicData uri="http://schemas.openxmlformats.org/drawingml/2006/table">
            <a:tbl>
              <a:tblPr firstRow="1" bandRow="1">
                <a:tableStyleId>{5C22544A-7EE6-4342-B048-85BDC9FD1C3A}</a:tableStyleId>
              </a:tblPr>
              <a:tblGrid>
                <a:gridCol w="1776170">
                  <a:extLst>
                    <a:ext uri="{9D8B030D-6E8A-4147-A177-3AD203B41FA5}">
                      <a16:colId xmlns:a16="http://schemas.microsoft.com/office/drawing/2014/main" val="2319828551"/>
                    </a:ext>
                  </a:extLst>
                </a:gridCol>
                <a:gridCol w="1090636">
                  <a:extLst>
                    <a:ext uri="{9D8B030D-6E8A-4147-A177-3AD203B41FA5}">
                      <a16:colId xmlns:a16="http://schemas.microsoft.com/office/drawing/2014/main" val="2223042840"/>
                    </a:ext>
                  </a:extLst>
                </a:gridCol>
                <a:gridCol w="6790197">
                  <a:extLst>
                    <a:ext uri="{9D8B030D-6E8A-4147-A177-3AD203B41FA5}">
                      <a16:colId xmlns:a16="http://schemas.microsoft.com/office/drawing/2014/main" val="2039445774"/>
                    </a:ext>
                  </a:extLst>
                </a:gridCol>
              </a:tblGrid>
              <a:tr h="914400">
                <a:tc>
                  <a:txBody>
                    <a:bodyPr/>
                    <a:lstStyle/>
                    <a:p>
                      <a:pPr marL="0" algn="ctr" defTabSz="914400" rtl="0" eaLnBrk="1" latinLnBrk="0" hangingPunct="1"/>
                      <a:r>
                        <a:rPr lang="en-US" sz="1800" b="1" kern="1200">
                          <a:solidFill>
                            <a:schemeClr val="accent2"/>
                          </a:solidFill>
                          <a:latin typeface="+mn-lt"/>
                          <a:ea typeface="+mn-ea"/>
                          <a:cs typeface="+mn-cs"/>
                        </a:rPr>
                        <a:t>Parallel LEAs</a:t>
                      </a:r>
                    </a:p>
                  </a:txBody>
                  <a:tcPr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indent="0" algn="l" defTabSz="914400" rtl="0" eaLnBrk="1" latinLnBrk="0" hangingPunct="1">
                        <a:spcAft>
                          <a:spcPts val="600"/>
                        </a:spcAft>
                        <a:buFont typeface="Arial" panose="020B0604020202020204" pitchFamily="34" charset="0"/>
                        <a:buNone/>
                      </a:pPr>
                      <a:endParaRPr lang="en-US" sz="1600" b="0" kern="1200">
                        <a:solidFill>
                          <a:schemeClr val="tx1"/>
                        </a:solidFill>
                        <a:latin typeface="+mn-lt"/>
                        <a:ea typeface="+mn-ea"/>
                        <a:cs typeface="+mn-cs"/>
                      </a:endParaRPr>
                    </a:p>
                  </a:txBody>
                  <a:tcPr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indent="0" algn="l" defTabSz="914400" rtl="0" eaLnBrk="1" latinLnBrk="0" hangingPunct="1">
                        <a:spcAft>
                          <a:spcPts val="600"/>
                        </a:spcAft>
                        <a:buFont typeface="Arial" panose="020B0604020202020204" pitchFamily="34" charset="0"/>
                        <a:buNone/>
                      </a:pPr>
                      <a:r>
                        <a:rPr lang="en-US" sz="1600" b="0" kern="1200">
                          <a:solidFill>
                            <a:schemeClr val="tx1"/>
                          </a:solidFill>
                          <a:latin typeface="+mn-lt"/>
                          <a:ea typeface="+mn-ea"/>
                          <a:cs typeface="+mn-cs"/>
                        </a:rPr>
                        <a:t>TEA will coordinate with vendors to ensure at least one LEA for each ESC region.</a:t>
                      </a:r>
                    </a:p>
                  </a:txBody>
                  <a:tcPr anchor="ctr">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18260762"/>
                  </a:ext>
                </a:extLst>
              </a:tr>
              <a:tr h="914400">
                <a:tc>
                  <a:txBody>
                    <a:bodyPr/>
                    <a:lstStyle/>
                    <a:p>
                      <a:pPr marL="0" algn="ctr" defTabSz="914400" rtl="0" eaLnBrk="1" latinLnBrk="0" hangingPunct="1"/>
                      <a:r>
                        <a:rPr lang="en-US" sz="1800" b="1" kern="1200">
                          <a:solidFill>
                            <a:schemeClr val="accent2"/>
                          </a:solidFill>
                          <a:latin typeface="+mn-lt"/>
                          <a:ea typeface="+mn-ea"/>
                          <a:cs typeface="+mn-cs"/>
                        </a:rPr>
                        <a:t>Parallel Portal</a:t>
                      </a:r>
                    </a:p>
                  </a:txBody>
                  <a:tcPr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indent="0" algn="l" defTabSz="914400" rtl="0" eaLnBrk="1" latinLnBrk="0" hangingPunct="1">
                        <a:spcAft>
                          <a:spcPts val="600"/>
                        </a:spcAft>
                        <a:buFont typeface="Arial" panose="020B0604020202020204" pitchFamily="34" charset="0"/>
                        <a:buNone/>
                      </a:pPr>
                      <a:endParaRPr lang="en-US" sz="1600" b="0" kern="1200">
                        <a:solidFill>
                          <a:schemeClr val="tx1"/>
                        </a:solidFill>
                        <a:latin typeface="+mn-lt"/>
                        <a:ea typeface="+mn-ea"/>
                        <a:cs typeface="+mn-cs"/>
                      </a:endParaRPr>
                    </a:p>
                  </a:txBody>
                  <a:tcPr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indent="0" algn="l" defTabSz="914400" rtl="0" eaLnBrk="1" latinLnBrk="0" hangingPunct="1">
                        <a:spcAft>
                          <a:spcPts val="600"/>
                        </a:spcAft>
                        <a:buFont typeface="Arial" panose="020B0604020202020204" pitchFamily="34" charset="0"/>
                        <a:buNone/>
                      </a:pPr>
                      <a:r>
                        <a:rPr lang="en-US" sz="1600" b="0" kern="1200">
                          <a:solidFill>
                            <a:schemeClr val="tx1"/>
                          </a:solidFill>
                          <a:latin typeface="+mn-lt"/>
                          <a:ea typeface="+mn-ea"/>
                          <a:cs typeface="+mn-cs"/>
                        </a:rPr>
                        <a:t>There will be a dedicated TSDS ODS 3.x parallel portal for participating LEAs. </a:t>
                      </a:r>
                    </a:p>
                  </a:txBody>
                  <a:tcPr anchor="ctr">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2593652420"/>
                  </a:ext>
                </a:extLst>
              </a:tr>
              <a:tr h="914400">
                <a:tc>
                  <a:txBody>
                    <a:bodyPr/>
                    <a:lstStyle/>
                    <a:p>
                      <a:pPr marL="0" algn="ctr" rtl="0" eaLnBrk="1" latinLnBrk="0" hangingPunct="1"/>
                      <a:r>
                        <a:rPr lang="en-US" sz="1800" b="1" kern="1200">
                          <a:solidFill>
                            <a:schemeClr val="accent2"/>
                          </a:solidFill>
                          <a:latin typeface="+mn-lt"/>
                          <a:ea typeface="+mn-ea"/>
                          <a:cs typeface="+mn-cs"/>
                        </a:rPr>
                        <a:t>TEAL Access</a:t>
                      </a:r>
                    </a:p>
                  </a:txBody>
                  <a:tcPr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indent="0" algn="l" defTabSz="914400" rtl="0" eaLnBrk="1" latinLnBrk="0" hangingPunct="1">
                        <a:spcAft>
                          <a:spcPts val="600"/>
                        </a:spcAft>
                        <a:buFont typeface="Arial" panose="020B0604020202020204" pitchFamily="34" charset="0"/>
                        <a:buNone/>
                      </a:pPr>
                      <a:endParaRPr lang="en-US" sz="1600" b="0" kern="1200">
                        <a:solidFill>
                          <a:schemeClr val="tx1"/>
                        </a:solidFill>
                        <a:latin typeface="+mn-lt"/>
                        <a:ea typeface="+mn-ea"/>
                        <a:cs typeface="+mn-cs"/>
                      </a:endParaRPr>
                    </a:p>
                  </a:txBody>
                  <a:tcPr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indent="0" algn="l" defTabSz="914400" rtl="0" eaLnBrk="1" latinLnBrk="0" hangingPunct="1">
                        <a:spcAft>
                          <a:spcPts val="600"/>
                        </a:spcAft>
                        <a:buFont typeface="Arial" panose="020B0604020202020204" pitchFamily="34" charset="0"/>
                        <a:buNone/>
                      </a:pPr>
                      <a:r>
                        <a:rPr lang="en-US" sz="1600" b="0" kern="1200">
                          <a:solidFill>
                            <a:schemeClr val="tx1"/>
                          </a:solidFill>
                          <a:latin typeface="+mn-lt"/>
                          <a:ea typeface="+mn-ea"/>
                          <a:cs typeface="+mn-cs"/>
                        </a:rPr>
                        <a:t>TEA will use TEAL for the parallel portal and Data Hub application access.</a:t>
                      </a:r>
                    </a:p>
                  </a:txBody>
                  <a:tcPr anchor="ctr">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545369768"/>
                  </a:ext>
                </a:extLst>
              </a:tr>
              <a:tr h="914400">
                <a:tc>
                  <a:txBody>
                    <a:bodyPr/>
                    <a:lstStyle/>
                    <a:p>
                      <a:pPr marL="0" algn="ctr" defTabSz="914400" rtl="0" eaLnBrk="1" latinLnBrk="0" hangingPunct="1"/>
                      <a:r>
                        <a:rPr lang="en-US" sz="1800" b="1" kern="1200">
                          <a:solidFill>
                            <a:schemeClr val="accent2"/>
                          </a:solidFill>
                          <a:latin typeface="+mn-lt"/>
                          <a:ea typeface="+mn-ea"/>
                          <a:cs typeface="+mn-cs"/>
                        </a:rPr>
                        <a:t>TIMS Support</a:t>
                      </a:r>
                    </a:p>
                  </a:txBody>
                  <a:tcPr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indent="0" algn="l" defTabSz="914400" rtl="0" eaLnBrk="1" latinLnBrk="0" hangingPunct="1">
                        <a:spcAft>
                          <a:spcPts val="600"/>
                        </a:spcAft>
                        <a:buFont typeface="Arial" panose="020B0604020202020204" pitchFamily="34" charset="0"/>
                        <a:buNone/>
                      </a:pPr>
                      <a:endParaRPr lang="en-US" sz="1600" b="0" kern="1200">
                        <a:solidFill>
                          <a:schemeClr val="tx1"/>
                        </a:solidFill>
                        <a:latin typeface="+mn-lt"/>
                        <a:ea typeface="+mn-ea"/>
                        <a:cs typeface="+mn-cs"/>
                      </a:endParaRPr>
                    </a:p>
                  </a:txBody>
                  <a:tcPr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indent="0" algn="l" defTabSz="914400" rtl="0" eaLnBrk="1" latinLnBrk="0" hangingPunct="1">
                        <a:spcAft>
                          <a:spcPts val="600"/>
                        </a:spcAft>
                        <a:buFont typeface="Arial" panose="020B0604020202020204" pitchFamily="34" charset="0"/>
                        <a:buNone/>
                      </a:pPr>
                      <a:r>
                        <a:rPr lang="en-US" sz="1600" b="0" kern="1200">
                          <a:solidFill>
                            <a:schemeClr val="tx1"/>
                          </a:solidFill>
                          <a:latin typeface="+mn-lt"/>
                          <a:ea typeface="+mn-ea"/>
                          <a:cs typeface="+mn-cs"/>
                        </a:rPr>
                        <a:t>LEAs will submit any issues and data discrepancies through the TIMS system.</a:t>
                      </a:r>
                    </a:p>
                  </a:txBody>
                  <a:tcPr anchor="ctr">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1138314348"/>
                  </a:ext>
                </a:extLst>
              </a:tr>
            </a:tbl>
          </a:graphicData>
        </a:graphic>
      </p:graphicFrame>
      <p:graphicFrame>
        <p:nvGraphicFramePr>
          <p:cNvPr id="5" name="Object 4" hidden="1">
            <a:extLst>
              <a:ext uri="{FF2B5EF4-FFF2-40B4-BE49-F238E27FC236}">
                <a16:creationId xmlns:a16="http://schemas.microsoft.com/office/drawing/2014/main" id="{405A8EA9-6850-43B3-B1DF-4B7E146BD37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6"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405A8EA9-6850-43B3-B1DF-4B7E146BD3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Graphic 10">
            <a:extLst>
              <a:ext uri="{FF2B5EF4-FFF2-40B4-BE49-F238E27FC236}">
                <a16:creationId xmlns:a16="http://schemas.microsoft.com/office/drawing/2014/main" id="{4D4662B2-A2C5-4B11-A600-264ADE9AAD5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004727" y="4480070"/>
            <a:ext cx="651176" cy="321002"/>
          </a:xfrm>
          <a:prstGeom prst="rect">
            <a:avLst/>
          </a:prstGeom>
        </p:spPr>
      </p:pic>
      <p:pic>
        <p:nvPicPr>
          <p:cNvPr id="24" name="Graphic 23">
            <a:extLst>
              <a:ext uri="{FF2B5EF4-FFF2-40B4-BE49-F238E27FC236}">
                <a16:creationId xmlns:a16="http://schemas.microsoft.com/office/drawing/2014/main" id="{E410A82F-6263-4AB5-A06A-7707B084067A}"/>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983381" y="2576032"/>
            <a:ext cx="651176" cy="551990"/>
          </a:xfrm>
          <a:prstGeom prst="rect">
            <a:avLst/>
          </a:prstGeom>
        </p:spPr>
      </p:pic>
      <p:pic>
        <p:nvPicPr>
          <p:cNvPr id="10" name="Graphic 9">
            <a:extLst>
              <a:ext uri="{FF2B5EF4-FFF2-40B4-BE49-F238E27FC236}">
                <a16:creationId xmlns:a16="http://schemas.microsoft.com/office/drawing/2014/main" id="{6B677387-5BB9-4DCC-AEE6-F2DEC950A68B}"/>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4059812" y="5212653"/>
            <a:ext cx="596091" cy="596091"/>
          </a:xfrm>
          <a:prstGeom prst="rect">
            <a:avLst/>
          </a:prstGeom>
        </p:spPr>
      </p:pic>
      <p:sp>
        <p:nvSpPr>
          <p:cNvPr id="6" name="Title 5">
            <a:extLst>
              <a:ext uri="{FF2B5EF4-FFF2-40B4-BE49-F238E27FC236}">
                <a16:creationId xmlns:a16="http://schemas.microsoft.com/office/drawing/2014/main" id="{11375B44-5CBA-44A8-BB61-EBD1403DF5D2}"/>
              </a:ext>
            </a:extLst>
          </p:cNvPr>
          <p:cNvSpPr>
            <a:spLocks noGrp="1"/>
          </p:cNvSpPr>
          <p:nvPr>
            <p:ph type="title"/>
          </p:nvPr>
        </p:nvSpPr>
        <p:spPr/>
        <p:txBody>
          <a:bodyPr>
            <a:noAutofit/>
          </a:bodyPr>
          <a:lstStyle/>
          <a:p>
            <a:r>
              <a:rPr lang="en-US">
                <a:cs typeface="Calibri"/>
              </a:rPr>
              <a:t>SUPPORTING PARALLEL SUBMISSION</a:t>
            </a:r>
            <a:endParaRPr lang="en-US"/>
          </a:p>
        </p:txBody>
      </p:sp>
      <p:pic>
        <p:nvPicPr>
          <p:cNvPr id="16" name="Graphic 10">
            <a:extLst>
              <a:ext uri="{FF2B5EF4-FFF2-40B4-BE49-F238E27FC236}">
                <a16:creationId xmlns:a16="http://schemas.microsoft.com/office/drawing/2014/main" id="{1E2A1F65-6928-4501-B2D7-ACAE663EAED0}"/>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995341" y="3482021"/>
            <a:ext cx="651176" cy="391810"/>
          </a:xfrm>
          <a:prstGeom prst="rect">
            <a:avLst/>
          </a:prstGeom>
        </p:spPr>
      </p:pic>
      <p:sp>
        <p:nvSpPr>
          <p:cNvPr id="19" name="Content Placeholder 3">
            <a:extLst>
              <a:ext uri="{FF2B5EF4-FFF2-40B4-BE49-F238E27FC236}">
                <a16:creationId xmlns:a16="http://schemas.microsoft.com/office/drawing/2014/main" id="{856DF57D-0F25-4BA8-9C0C-24D9F7408C0B}"/>
              </a:ext>
            </a:extLst>
          </p:cNvPr>
          <p:cNvSpPr txBox="1">
            <a:spLocks/>
          </p:cNvSpPr>
          <p:nvPr/>
        </p:nvSpPr>
        <p:spPr>
          <a:xfrm>
            <a:off x="2201841" y="1253331"/>
            <a:ext cx="9024347" cy="1232382"/>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tx1">
                    <a:lumMod val="65000"/>
                    <a:lumOff val="35000"/>
                  </a:schemeClr>
                </a:solidFill>
                <a:latin typeface="+mn-lt"/>
                <a:ea typeface="+mn-ea"/>
                <a:cs typeface="+mn-cs"/>
              </a:defRPr>
            </a:lvl1pPr>
            <a:lvl2pPr marL="800100" indent="-342900" algn="l" defTabSz="914400" rtl="0" eaLnBrk="1" latinLnBrk="0" hangingPunct="1">
              <a:lnSpc>
                <a:spcPct val="90000"/>
              </a:lnSpc>
              <a:spcBef>
                <a:spcPts val="500"/>
              </a:spcBef>
              <a:buClr>
                <a:srgbClr val="0D6CB9"/>
              </a:buClr>
              <a:buFont typeface="Arial" panose="020B0604020202020204" pitchFamily="34" charset="0"/>
              <a:buChar char="•"/>
              <a:defRPr sz="24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2"/>
              </a:buClr>
              <a:buSzPct val="75000"/>
              <a:buFont typeface="Courier New" panose="02070309020205020404" pitchFamily="49" charset="0"/>
              <a:buChar char="o"/>
              <a:defRPr sz="20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Clr>
                <a:srgbClr val="0D6CB9"/>
              </a:buClr>
              <a:buFont typeface="Arial" panose="020B0604020202020204" pitchFamily="34" charset="0"/>
              <a:buChar char="•"/>
              <a:defRPr sz="18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t>Technical Support: </a:t>
            </a:r>
            <a:r>
              <a:rPr lang="en-US"/>
              <a:t>ESCs will be expected to support any LEA(s) participating in the 2022-2023 parallel submission.</a:t>
            </a:r>
          </a:p>
        </p:txBody>
      </p:sp>
    </p:spTree>
    <p:extLst>
      <p:ext uri="{BB962C8B-B14F-4D97-AF65-F5344CB8AC3E}">
        <p14:creationId xmlns:p14="http://schemas.microsoft.com/office/powerpoint/2010/main" val="31268496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726A92-BC31-4481-93A2-EECFCB56AD22}"/>
              </a:ext>
            </a:extLst>
          </p:cNvPr>
          <p:cNvSpPr>
            <a:spLocks noGrp="1"/>
          </p:cNvSpPr>
          <p:nvPr>
            <p:ph type="title"/>
          </p:nvPr>
        </p:nvSpPr>
        <p:spPr/>
        <p:txBody>
          <a:bodyPr/>
          <a:lstStyle/>
          <a:p>
            <a:r>
              <a:rPr lang="en-US">
                <a:cs typeface="Calibri"/>
              </a:rPr>
              <a:t>AGENDA</a:t>
            </a:r>
            <a:endParaRPr lang="en-US"/>
          </a:p>
        </p:txBody>
      </p:sp>
      <p:sp>
        <p:nvSpPr>
          <p:cNvPr id="4" name="Content Placeholder 3">
            <a:extLst>
              <a:ext uri="{FF2B5EF4-FFF2-40B4-BE49-F238E27FC236}">
                <a16:creationId xmlns:a16="http://schemas.microsoft.com/office/drawing/2014/main" id="{9F800888-D9B6-49F1-8B90-B7E4BB43ED5B}"/>
              </a:ext>
            </a:extLst>
          </p:cNvPr>
          <p:cNvSpPr>
            <a:spLocks noGrp="1"/>
          </p:cNvSpPr>
          <p:nvPr>
            <p:ph idx="1"/>
          </p:nvPr>
        </p:nvSpPr>
        <p:spPr>
          <a:xfrm>
            <a:off x="712379" y="833142"/>
            <a:ext cx="5148593" cy="5564459"/>
          </a:xfrm>
        </p:spPr>
        <p:txBody>
          <a:bodyPr lIns="91440" tIns="45720" rIns="91440" bIns="45720" anchor="t"/>
          <a:lstStyle/>
          <a:p>
            <a:r>
              <a:rPr lang="en-US" sz="2400" b="1">
                <a:solidFill>
                  <a:srgbClr val="0D6CB9"/>
                </a:solidFill>
                <a:ea typeface="+mn-lt"/>
                <a:cs typeface="+mn-lt"/>
              </a:rPr>
              <a:t>ODS 3.x</a:t>
            </a:r>
            <a:endParaRPr lang="en-US" sz="2400">
              <a:solidFill>
                <a:srgbClr val="0D6CB9"/>
              </a:solidFill>
              <a:ea typeface="+mn-lt"/>
              <a:cs typeface="+mn-lt"/>
            </a:endParaRPr>
          </a:p>
          <a:p>
            <a:pPr lvl="1"/>
            <a:r>
              <a:rPr lang="en-US" sz="2000">
                <a:cs typeface="Calibri"/>
              </a:rPr>
              <a:t>Project Timeline </a:t>
            </a:r>
            <a:endParaRPr lang="en-US" sz="600">
              <a:cs typeface="Calibri"/>
            </a:endParaRPr>
          </a:p>
          <a:p>
            <a:pPr lvl="1"/>
            <a:r>
              <a:rPr lang="en-US" sz="2000">
                <a:ea typeface="+mn-lt"/>
                <a:cs typeface="+mn-lt"/>
              </a:rPr>
              <a:t>Pilot Program: 2021-2022</a:t>
            </a:r>
          </a:p>
          <a:p>
            <a:pPr lvl="2"/>
            <a:r>
              <a:rPr lang="en-US" sz="1600">
                <a:ea typeface="+mn-lt"/>
                <a:cs typeface="+mn-lt"/>
              </a:rPr>
              <a:t>Purpose, Timeline, &amp; Accomplishments </a:t>
            </a:r>
          </a:p>
          <a:p>
            <a:pPr lvl="2"/>
            <a:r>
              <a:rPr lang="en-US" sz="1600">
                <a:ea typeface="+mn-lt"/>
                <a:cs typeface="+mn-lt"/>
              </a:rPr>
              <a:t>Software Development Kit (SDK)</a:t>
            </a:r>
            <a:endParaRPr lang="en-US" sz="600">
              <a:ea typeface="+mn-lt"/>
              <a:cs typeface="+mn-lt"/>
            </a:endParaRPr>
          </a:p>
          <a:p>
            <a:pPr lvl="2"/>
            <a:r>
              <a:rPr lang="en-US" sz="1600">
                <a:ea typeface="+mn-lt"/>
                <a:cs typeface="+mn-lt"/>
              </a:rPr>
              <a:t>Vendor Cohort, Guidance, &amp; Communications</a:t>
            </a:r>
          </a:p>
          <a:p>
            <a:pPr lvl="2"/>
            <a:r>
              <a:rPr lang="en-US" sz="1600">
                <a:ea typeface="+mn-lt"/>
                <a:cs typeface="+mn-lt"/>
              </a:rPr>
              <a:t>End-to-End Testing </a:t>
            </a:r>
          </a:p>
          <a:p>
            <a:pPr lvl="1"/>
            <a:r>
              <a:rPr lang="en-US" sz="2000">
                <a:ea typeface="+mn-lt"/>
                <a:cs typeface="+mn-lt"/>
              </a:rPr>
              <a:t>Parallel Submission: 2022-2023</a:t>
            </a:r>
          </a:p>
          <a:p>
            <a:pPr lvl="2"/>
            <a:r>
              <a:rPr lang="en-US" sz="1600">
                <a:ea typeface="+mn-lt"/>
                <a:cs typeface="+mn-lt"/>
              </a:rPr>
              <a:t>Preparing for Parallel Submission  </a:t>
            </a:r>
            <a:endParaRPr lang="en-US">
              <a:ea typeface="+mn-lt"/>
              <a:cs typeface="+mn-lt"/>
            </a:endParaRPr>
          </a:p>
          <a:p>
            <a:pPr lvl="2"/>
            <a:r>
              <a:rPr lang="en-US" sz="1600">
                <a:ea typeface="+mn-lt"/>
                <a:cs typeface="+mn-lt"/>
              </a:rPr>
              <a:t>Roles &amp; Responsibilities </a:t>
            </a:r>
          </a:p>
          <a:p>
            <a:pPr lvl="2"/>
            <a:r>
              <a:rPr lang="en-US" sz="1600">
                <a:ea typeface="+mn-lt"/>
                <a:cs typeface="+mn-lt"/>
              </a:rPr>
              <a:t>TSDS Compatible Designation </a:t>
            </a:r>
            <a:endParaRPr lang="en-US">
              <a:cs typeface="Calibri"/>
            </a:endParaRPr>
          </a:p>
          <a:p>
            <a:pPr lvl="2"/>
            <a:r>
              <a:rPr lang="en-US" sz="1600">
                <a:ea typeface="+mn-lt"/>
                <a:cs typeface="+mn-lt"/>
              </a:rPr>
              <a:t>Training &amp; Support</a:t>
            </a:r>
          </a:p>
          <a:p>
            <a:pPr lvl="1"/>
            <a:r>
              <a:rPr lang="en-US" sz="2000">
                <a:cs typeface="Calibri"/>
              </a:rPr>
              <a:t>Closeout</a:t>
            </a:r>
            <a:endParaRPr lang="en-US">
              <a:cs typeface="Calibri"/>
            </a:endParaRPr>
          </a:p>
          <a:p>
            <a:pPr lvl="2"/>
            <a:r>
              <a:rPr lang="en-US" sz="1600">
                <a:cs typeface="Calibri"/>
              </a:rPr>
              <a:t>Key Takeaways </a:t>
            </a:r>
          </a:p>
          <a:p>
            <a:pPr lvl="2"/>
            <a:r>
              <a:rPr lang="en-US" sz="1600">
                <a:cs typeface="Calibri"/>
              </a:rPr>
              <a:t>Frequently Asked Questions (FAQs) </a:t>
            </a:r>
          </a:p>
          <a:p>
            <a:pPr lvl="2"/>
            <a:r>
              <a:rPr lang="en-US" sz="1600">
                <a:cs typeface="Calibri"/>
              </a:rPr>
              <a:t>Next Webinar</a:t>
            </a:r>
            <a:endParaRPr lang="en-US" sz="600">
              <a:cs typeface="Calibri"/>
            </a:endParaRPr>
          </a:p>
          <a:p>
            <a:pPr lvl="2"/>
            <a:endParaRPr lang="en-US" sz="1600">
              <a:ea typeface="+mn-lt"/>
              <a:cs typeface="+mn-lt"/>
            </a:endParaRPr>
          </a:p>
          <a:p>
            <a:pPr lvl="2"/>
            <a:endParaRPr lang="en-US" sz="600">
              <a:ea typeface="+mn-lt"/>
              <a:cs typeface="+mn-lt"/>
            </a:endParaRPr>
          </a:p>
          <a:p>
            <a:pPr lvl="1"/>
            <a:endParaRPr lang="en-US">
              <a:cs typeface="Calibri"/>
            </a:endParaRPr>
          </a:p>
        </p:txBody>
      </p:sp>
    </p:spTree>
    <p:extLst>
      <p:ext uri="{BB962C8B-B14F-4D97-AF65-F5344CB8AC3E}">
        <p14:creationId xmlns:p14="http://schemas.microsoft.com/office/powerpoint/2010/main" val="3082067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69F8971-E508-4964-9A5D-4A76339376E5}"/>
              </a:ext>
            </a:extLst>
          </p:cNvPr>
          <p:cNvSpPr/>
          <p:nvPr/>
        </p:nvSpPr>
        <p:spPr>
          <a:xfrm>
            <a:off x="7719237" y="1162052"/>
            <a:ext cx="4116230" cy="53710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13">
            <a:extLst>
              <a:ext uri="{FF2B5EF4-FFF2-40B4-BE49-F238E27FC236}">
                <a16:creationId xmlns:a16="http://schemas.microsoft.com/office/drawing/2014/main" id="{3B0CA719-BA0D-49B8-940C-47939F3453CC}"/>
              </a:ext>
            </a:extLst>
          </p:cNvPr>
          <p:cNvSpPr>
            <a:spLocks noGrp="1"/>
          </p:cNvSpPr>
          <p:nvPr>
            <p:ph type="body" sz="quarter" idx="13"/>
          </p:nvPr>
        </p:nvSpPr>
        <p:spPr>
          <a:xfrm>
            <a:off x="7719237" y="1270861"/>
            <a:ext cx="4092480" cy="5262285"/>
          </a:xfrm>
        </p:spPr>
        <p:txBody>
          <a:bodyPr>
            <a:normAutofit/>
          </a:bodyPr>
          <a:lstStyle/>
          <a:p>
            <a:pPr marL="0" indent="0">
              <a:buNone/>
            </a:pPr>
            <a:r>
              <a:rPr lang="en-US" b="1" dirty="0"/>
              <a:t>LEA PARTNERSHIPS</a:t>
            </a:r>
          </a:p>
          <a:p>
            <a:endParaRPr lang="en-US" sz="1000" b="1" dirty="0"/>
          </a:p>
          <a:p>
            <a:pPr marL="457200" lvl="1"/>
            <a:r>
              <a:rPr lang="en-US" sz="2000" dirty="0"/>
              <a:t>Each vendor will partner with at least one LEA for parallel submission. </a:t>
            </a:r>
          </a:p>
          <a:p>
            <a:pPr marL="457200" lvl="1"/>
            <a:endParaRPr lang="en-US" sz="2000" dirty="0"/>
          </a:p>
          <a:p>
            <a:pPr marL="457200" lvl="1"/>
            <a:r>
              <a:rPr lang="en-US" sz="2000" dirty="0"/>
              <a:t>TEA will coordinate with vendors and ESCs to ensure all 20 regions have LEA representation for training and support efforts. </a:t>
            </a:r>
          </a:p>
          <a:p>
            <a:pPr marL="457200" lvl="1"/>
            <a:endParaRPr lang="en-US" sz="2000" dirty="0"/>
          </a:p>
          <a:p>
            <a:pPr marL="457200" lvl="1"/>
            <a:r>
              <a:rPr lang="en-US" sz="2000" dirty="0"/>
              <a:t>TEA will be contacting vendors in the coming months for tentative LEA partnerships and provide any assistance for commitments.</a:t>
            </a:r>
            <a:endParaRPr lang="en-US" sz="2800" dirty="0"/>
          </a:p>
          <a:p>
            <a:endParaRPr lang="en-US" b="1" dirty="0"/>
          </a:p>
          <a:p>
            <a:endParaRPr lang="en-US" b="1" dirty="0"/>
          </a:p>
          <a:p>
            <a:endParaRPr lang="en-US" b="1" dirty="0"/>
          </a:p>
          <a:p>
            <a:pPr marL="0"/>
            <a:endParaRPr lang="en-US" b="1" dirty="0"/>
          </a:p>
        </p:txBody>
      </p:sp>
      <p:sp>
        <p:nvSpPr>
          <p:cNvPr id="13" name="Title 12">
            <a:extLst>
              <a:ext uri="{FF2B5EF4-FFF2-40B4-BE49-F238E27FC236}">
                <a16:creationId xmlns:a16="http://schemas.microsoft.com/office/drawing/2014/main" id="{1C0A32D1-28B2-4915-BD24-E361F93D634E}"/>
              </a:ext>
            </a:extLst>
          </p:cNvPr>
          <p:cNvSpPr>
            <a:spLocks noGrp="1"/>
          </p:cNvSpPr>
          <p:nvPr>
            <p:ph type="title"/>
          </p:nvPr>
        </p:nvSpPr>
        <p:spPr>
          <a:xfrm>
            <a:off x="2212290" y="199694"/>
            <a:ext cx="9515883" cy="542429"/>
          </a:xfrm>
        </p:spPr>
        <p:txBody>
          <a:bodyPr vert="horz" lIns="91440" tIns="45720" rIns="91440" bIns="45720" rtlCol="0" anchor="ctr">
            <a:normAutofit/>
          </a:bodyPr>
          <a:lstStyle/>
          <a:p>
            <a:r>
              <a:rPr lang="en-US" sz="3100" b="1" kern="1200">
                <a:latin typeface="+mn-lt"/>
                <a:ea typeface="+mj-ea"/>
                <a:cs typeface="+mj-cs"/>
              </a:rPr>
              <a:t>KEY TAKEAWAYS</a:t>
            </a:r>
          </a:p>
        </p:txBody>
      </p:sp>
      <p:graphicFrame>
        <p:nvGraphicFramePr>
          <p:cNvPr id="16" name="TextBox 5">
            <a:extLst>
              <a:ext uri="{FF2B5EF4-FFF2-40B4-BE49-F238E27FC236}">
                <a16:creationId xmlns:a16="http://schemas.microsoft.com/office/drawing/2014/main" id="{CCE7152F-A890-4108-A008-C0B645EA3716}"/>
              </a:ext>
            </a:extLst>
          </p:cNvPr>
          <p:cNvGraphicFramePr/>
          <p:nvPr>
            <p:extLst>
              <p:ext uri="{D42A27DB-BD31-4B8C-83A1-F6EECF244321}">
                <p14:modId xmlns:p14="http://schemas.microsoft.com/office/powerpoint/2010/main" val="1920395472"/>
              </p:ext>
            </p:extLst>
          </p:nvPr>
        </p:nvGraphicFramePr>
        <p:xfrm>
          <a:off x="2210127" y="1032817"/>
          <a:ext cx="5308980" cy="5716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988403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942845-BD5A-42C5-A5C4-13339DD507AB}"/>
              </a:ext>
            </a:extLst>
          </p:cNvPr>
          <p:cNvSpPr>
            <a:spLocks noGrp="1"/>
          </p:cNvSpPr>
          <p:nvPr>
            <p:ph type="title"/>
          </p:nvPr>
        </p:nvSpPr>
        <p:spPr>
          <a:xfrm>
            <a:off x="2201841" y="68122"/>
            <a:ext cx="9630770" cy="751350"/>
          </a:xfrm>
        </p:spPr>
        <p:txBody>
          <a:bodyPr/>
          <a:lstStyle/>
          <a:p>
            <a:r>
              <a:rPr lang="en-US">
                <a:cs typeface="Calibri"/>
              </a:rPr>
              <a:t>FREQUENTLY ASKED QUESTIONS</a:t>
            </a:r>
            <a:endParaRPr lang="en-US"/>
          </a:p>
        </p:txBody>
      </p:sp>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1" y="1144867"/>
            <a:ext cx="9630770" cy="5268812"/>
          </a:xfrm>
        </p:spPr>
        <p:txBody>
          <a:bodyPr lIns="91440" tIns="45720" rIns="91440" bIns="45720" anchor="t"/>
          <a:lstStyle/>
          <a:p>
            <a:pPr marL="0" indent="0">
              <a:buNone/>
            </a:pPr>
            <a:r>
              <a:rPr lang="en-US" b="1"/>
              <a:t>Do all vendors need to participate in the 2022-2023 parallel submission year?</a:t>
            </a:r>
            <a:r>
              <a:rPr lang="en-US" sz="2800" b="1"/>
              <a:t> </a:t>
            </a:r>
            <a:br>
              <a:rPr lang="en-US" sz="2800" b="1"/>
            </a:br>
            <a:endParaRPr lang="en-US" b="1">
              <a:cs typeface="Calibri" panose="020F0502020204030204"/>
            </a:endParaRPr>
          </a:p>
          <a:p>
            <a:pPr marL="457200" lvl="1" indent="0">
              <a:buNone/>
            </a:pPr>
            <a:r>
              <a:rPr lang="en-US">
                <a:ea typeface="+mn-lt"/>
                <a:cs typeface="+mn-lt"/>
              </a:rPr>
              <a:t>Yes. All source system vendors will need to participate in the 2022-2023 parallel submission year with at least one LEA partner in order to obtain the TSDS compatible designation. </a:t>
            </a:r>
          </a:p>
          <a:p>
            <a:pPr marL="457200" lvl="1" indent="0">
              <a:buNone/>
            </a:pPr>
            <a:endParaRPr lang="en-US">
              <a:ea typeface="+mn-lt"/>
              <a:cs typeface="+mn-lt"/>
            </a:endParaRPr>
          </a:p>
          <a:p>
            <a:pPr marL="457200" lvl="1" indent="0">
              <a:buNone/>
            </a:pPr>
            <a:r>
              <a:rPr lang="en-US">
                <a:ea typeface="+mn-lt"/>
                <a:cs typeface="+mn-lt"/>
              </a:rPr>
              <a:t>Participating LEAs will be expected to compare their XML data submission data against the ODS 3.x data </a:t>
            </a:r>
            <a:r>
              <a:rPr lang="en-US" u="sng">
                <a:ea typeface="+mn-lt"/>
                <a:cs typeface="+mn-lt"/>
              </a:rPr>
              <a:t>prior</a:t>
            </a:r>
            <a:r>
              <a:rPr lang="en-US">
                <a:ea typeface="+mn-lt"/>
                <a:cs typeface="+mn-lt"/>
              </a:rPr>
              <a:t> to TSDS submission deadlines. </a:t>
            </a:r>
          </a:p>
          <a:p>
            <a:pPr marL="457200" lvl="1" indent="0">
              <a:buNone/>
            </a:pPr>
            <a:endParaRPr lang="en-US">
              <a:ea typeface="+mn-lt"/>
              <a:cs typeface="+mn-lt"/>
            </a:endParaRPr>
          </a:p>
          <a:p>
            <a:pPr marL="457200" lvl="1" indent="0">
              <a:buNone/>
            </a:pPr>
            <a:r>
              <a:rPr lang="en-US">
                <a:ea typeface="+mn-lt"/>
                <a:cs typeface="+mn-lt"/>
              </a:rPr>
              <a:t>Refer to TWEDS for the 2022-2023 TSDS submission deadlines or through the link </a:t>
            </a:r>
            <a:r>
              <a:rPr lang="en-US">
                <a:ea typeface="+mn-lt"/>
                <a:cs typeface="+mn-lt"/>
                <a:hlinkClick r:id="rId3"/>
              </a:rPr>
              <a:t>here</a:t>
            </a:r>
            <a:r>
              <a:rPr lang="en-US">
                <a:ea typeface="+mn-lt"/>
                <a:cs typeface="+mn-lt"/>
              </a:rPr>
              <a:t>. </a:t>
            </a:r>
            <a:endParaRPr lang="en-US" sz="2400"/>
          </a:p>
          <a:p>
            <a:pPr marL="457200" lvl="1" indent="0">
              <a:buNone/>
            </a:pPr>
            <a:endParaRPr lang="en-US">
              <a:ea typeface="+mn-lt"/>
              <a:cs typeface="+mn-lt"/>
            </a:endParaRPr>
          </a:p>
          <a:p>
            <a:pPr marL="457200" lvl="1" indent="0">
              <a:buNone/>
            </a:pPr>
            <a:endParaRPr lang="en-US" b="1">
              <a:ea typeface="+mn-lt"/>
              <a:cs typeface="+mn-lt"/>
            </a:endParaRPr>
          </a:p>
          <a:p>
            <a:pPr marL="457200" lvl="1" indent="0">
              <a:buNone/>
            </a:pPr>
            <a:endParaRPr lang="en-US">
              <a:ea typeface="+mn-lt"/>
              <a:cs typeface="+mn-lt"/>
            </a:endParaRPr>
          </a:p>
          <a:p>
            <a:pPr marL="0" indent="0">
              <a:buNone/>
            </a:pPr>
            <a:endParaRPr lang="en-US">
              <a:cs typeface="Calibri"/>
            </a:endParaRPr>
          </a:p>
        </p:txBody>
      </p:sp>
    </p:spTree>
    <p:extLst>
      <p:ext uri="{BB962C8B-B14F-4D97-AF65-F5344CB8AC3E}">
        <p14:creationId xmlns:p14="http://schemas.microsoft.com/office/powerpoint/2010/main" val="14861854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1" y="1184195"/>
            <a:ext cx="9439553" cy="5837823"/>
          </a:xfrm>
        </p:spPr>
        <p:txBody>
          <a:bodyPr lIns="91440" tIns="45720" rIns="91440" bIns="45720" anchor="t"/>
          <a:lstStyle/>
          <a:p>
            <a:pPr marL="0" indent="0">
              <a:buNone/>
            </a:pPr>
            <a:r>
              <a:rPr lang="en-US" b="1"/>
              <a:t>How will LEAs interested in participating in the parallel submission year be accepted?</a:t>
            </a:r>
            <a:br>
              <a:rPr lang="en-US" sz="2800" b="1"/>
            </a:br>
            <a:endParaRPr lang="en-US" b="1">
              <a:cs typeface="Calibri" panose="020F0502020204030204"/>
            </a:endParaRPr>
          </a:p>
          <a:p>
            <a:pPr marL="457200" lvl="1" indent="0">
              <a:buNone/>
            </a:pPr>
            <a:r>
              <a:rPr lang="en-US">
                <a:ea typeface="+mn-lt"/>
                <a:cs typeface="+mn-lt"/>
              </a:rPr>
              <a:t>TEA is encouraging LEAs interested in participating in the ODS 3.x parallel submission to contact their source system vendor(s) directly. TEA expects vendors to allow all interested LEAs to test their ODS 3.x product solutions for the parallel submission year to ensure a comprehensive range of LEA enrollment size and regional location. </a:t>
            </a:r>
          </a:p>
          <a:p>
            <a:pPr marL="457200" lvl="1" indent="0">
              <a:buNone/>
            </a:pPr>
            <a:endParaRPr lang="en-US" sz="1000">
              <a:ea typeface="+mn-lt"/>
              <a:cs typeface="+mn-lt"/>
            </a:endParaRPr>
          </a:p>
          <a:p>
            <a:pPr marL="457200" lvl="1" indent="0">
              <a:buNone/>
            </a:pPr>
            <a:endParaRPr lang="en-US" sz="1000">
              <a:ea typeface="+mn-lt"/>
              <a:cs typeface="+mn-lt"/>
            </a:endParaRPr>
          </a:p>
          <a:p>
            <a:pPr marL="457200" lvl="1" indent="0">
              <a:buNone/>
            </a:pPr>
            <a:r>
              <a:rPr lang="en-US">
                <a:ea typeface="+mn-lt"/>
                <a:cs typeface="+mn-lt"/>
              </a:rPr>
              <a:t>TEA will be contacting vendors in the coming months to coordinate LEA partnerships and assist with communications, training, and guidance. </a:t>
            </a:r>
            <a:br>
              <a:rPr lang="en-US">
                <a:ea typeface="+mn-lt"/>
                <a:cs typeface="+mn-lt"/>
              </a:rPr>
            </a:br>
            <a:endParaRPr lang="en-US">
              <a:ea typeface="+mn-lt"/>
              <a:cs typeface="+mn-lt"/>
            </a:endParaRPr>
          </a:p>
          <a:p>
            <a:pPr marL="0" indent="0">
              <a:buNone/>
            </a:pPr>
            <a:endParaRPr lang="en-US">
              <a:cs typeface="Calibri"/>
            </a:endParaRPr>
          </a:p>
        </p:txBody>
      </p:sp>
      <p:sp>
        <p:nvSpPr>
          <p:cNvPr id="5" name="Title 4">
            <a:extLst>
              <a:ext uri="{FF2B5EF4-FFF2-40B4-BE49-F238E27FC236}">
                <a16:creationId xmlns:a16="http://schemas.microsoft.com/office/drawing/2014/main" id="{ED050E86-55C2-4B7D-BA4D-A740ACD38EBC}"/>
              </a:ext>
            </a:extLst>
          </p:cNvPr>
          <p:cNvSpPr>
            <a:spLocks noGrp="1"/>
          </p:cNvSpPr>
          <p:nvPr>
            <p:ph type="title"/>
          </p:nvPr>
        </p:nvSpPr>
        <p:spPr/>
        <p:txBody>
          <a:bodyPr>
            <a:noAutofit/>
          </a:bodyPr>
          <a:lstStyle/>
          <a:p>
            <a:r>
              <a:rPr lang="en-US">
                <a:cs typeface="Calibri"/>
              </a:rPr>
              <a:t>FREQUENTLY ASKED QUESTIONS</a:t>
            </a:r>
            <a:endParaRPr lang="en-US"/>
          </a:p>
        </p:txBody>
      </p:sp>
    </p:spTree>
    <p:extLst>
      <p:ext uri="{BB962C8B-B14F-4D97-AF65-F5344CB8AC3E}">
        <p14:creationId xmlns:p14="http://schemas.microsoft.com/office/powerpoint/2010/main" val="4275141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1" y="1144867"/>
            <a:ext cx="9515883" cy="3702555"/>
          </a:xfrm>
        </p:spPr>
        <p:txBody>
          <a:bodyPr lIns="91440" tIns="45720" rIns="91440" bIns="45720" anchor="t"/>
          <a:lstStyle/>
          <a:p>
            <a:pPr marL="0" indent="0">
              <a:buNone/>
            </a:pPr>
            <a:r>
              <a:rPr lang="en-US" b="1"/>
              <a:t>What should a vendor do if they cannot get an LEA partnership commitment for the 2022-2023 parallel submission year?</a:t>
            </a:r>
            <a:endParaRPr lang="en-US"/>
          </a:p>
          <a:p>
            <a:pPr marL="457200" lvl="1" indent="0">
              <a:buNone/>
            </a:pPr>
            <a:endParaRPr lang="en-US">
              <a:ea typeface="+mn-lt"/>
              <a:cs typeface="+mn-lt"/>
            </a:endParaRPr>
          </a:p>
          <a:p>
            <a:pPr marL="457200" lvl="1" indent="0">
              <a:buNone/>
            </a:pPr>
            <a:r>
              <a:rPr lang="en-US">
                <a:cs typeface="Calibri"/>
              </a:rPr>
              <a:t>Vendors who are unable to obtain an LEA partnership commitment should contact </a:t>
            </a:r>
            <a:r>
              <a:rPr lang="en-US">
                <a:cs typeface="Calibri"/>
                <a:hlinkClick r:id="rId3"/>
              </a:rPr>
              <a:t>TSDSDeployment@tea.texas.gov</a:t>
            </a:r>
            <a:r>
              <a:rPr lang="en-US">
                <a:cs typeface="Calibri"/>
              </a:rPr>
              <a:t> for assistance and guidance. </a:t>
            </a:r>
          </a:p>
          <a:p>
            <a:pPr marL="457200" lvl="1" indent="0">
              <a:buNone/>
            </a:pPr>
            <a:endParaRPr lang="en-US">
              <a:cs typeface="Calibri"/>
            </a:endParaRPr>
          </a:p>
        </p:txBody>
      </p:sp>
      <p:sp>
        <p:nvSpPr>
          <p:cNvPr id="5" name="Title 4">
            <a:extLst>
              <a:ext uri="{FF2B5EF4-FFF2-40B4-BE49-F238E27FC236}">
                <a16:creationId xmlns:a16="http://schemas.microsoft.com/office/drawing/2014/main" id="{ED050E86-55C2-4B7D-BA4D-A740ACD38EBC}"/>
              </a:ext>
            </a:extLst>
          </p:cNvPr>
          <p:cNvSpPr>
            <a:spLocks noGrp="1"/>
          </p:cNvSpPr>
          <p:nvPr>
            <p:ph type="title"/>
          </p:nvPr>
        </p:nvSpPr>
        <p:spPr/>
        <p:txBody>
          <a:bodyPr>
            <a:noAutofit/>
          </a:bodyPr>
          <a:lstStyle/>
          <a:p>
            <a:r>
              <a:rPr lang="en-US">
                <a:cs typeface="Calibri"/>
              </a:rPr>
              <a:t>FREQUENTLY ASKED QUESTIONS</a:t>
            </a:r>
            <a:endParaRPr lang="en-US"/>
          </a:p>
        </p:txBody>
      </p:sp>
    </p:spTree>
    <p:extLst>
      <p:ext uri="{BB962C8B-B14F-4D97-AF65-F5344CB8AC3E}">
        <p14:creationId xmlns:p14="http://schemas.microsoft.com/office/powerpoint/2010/main" val="30039456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1" y="1144867"/>
            <a:ext cx="9696376" cy="3702555"/>
          </a:xfrm>
        </p:spPr>
        <p:txBody>
          <a:bodyPr lIns="91440" tIns="45720" rIns="91440" bIns="45720" anchor="t"/>
          <a:lstStyle/>
          <a:p>
            <a:pPr marL="0" indent="0">
              <a:buNone/>
            </a:pPr>
            <a:r>
              <a:rPr lang="en-US" b="1"/>
              <a:t>Will ECDS assessment vendors need to publish their results to each LEA’s ODS (Landing Zone)?</a:t>
            </a:r>
            <a:endParaRPr lang="en-US"/>
          </a:p>
          <a:p>
            <a:pPr marL="457200" lvl="1" indent="0">
              <a:buNone/>
            </a:pPr>
            <a:endParaRPr lang="en-US">
              <a:ea typeface="+mn-lt"/>
              <a:cs typeface="+mn-lt"/>
            </a:endParaRPr>
          </a:p>
          <a:p>
            <a:pPr marL="457200" lvl="1" indent="0">
              <a:buNone/>
            </a:pPr>
            <a:r>
              <a:rPr lang="en-US">
                <a:cs typeface="Calibri"/>
              </a:rPr>
              <a:t>Yes. ECDS assessment vendors will be required to publish all necessary data to the LEA’s ODS through API transactions. </a:t>
            </a:r>
          </a:p>
          <a:p>
            <a:pPr marL="457200" lvl="1" indent="0">
              <a:buNone/>
            </a:pPr>
            <a:endParaRPr lang="en-US">
              <a:cs typeface="Calibri"/>
            </a:endParaRPr>
          </a:p>
          <a:p>
            <a:pPr marL="457200" lvl="1" indent="0">
              <a:buNone/>
            </a:pPr>
            <a:r>
              <a:rPr lang="en-US">
                <a:cs typeface="Calibri"/>
              </a:rPr>
              <a:t>Additionally, ECDS assessment vendors will be required to obtain the necessary Ed-Fi certification and TSDS Compatible Designation. </a:t>
            </a:r>
          </a:p>
        </p:txBody>
      </p:sp>
      <p:sp>
        <p:nvSpPr>
          <p:cNvPr id="5" name="Title 4">
            <a:extLst>
              <a:ext uri="{FF2B5EF4-FFF2-40B4-BE49-F238E27FC236}">
                <a16:creationId xmlns:a16="http://schemas.microsoft.com/office/drawing/2014/main" id="{ED050E86-55C2-4B7D-BA4D-A740ACD38EBC}"/>
              </a:ext>
            </a:extLst>
          </p:cNvPr>
          <p:cNvSpPr>
            <a:spLocks noGrp="1"/>
          </p:cNvSpPr>
          <p:nvPr>
            <p:ph type="title"/>
          </p:nvPr>
        </p:nvSpPr>
        <p:spPr/>
        <p:txBody>
          <a:bodyPr>
            <a:noAutofit/>
          </a:bodyPr>
          <a:lstStyle/>
          <a:p>
            <a:r>
              <a:rPr lang="en-US">
                <a:cs typeface="Calibri"/>
              </a:rPr>
              <a:t>FREQUENTLY ASKED QUESTIONS</a:t>
            </a:r>
            <a:endParaRPr lang="en-US"/>
          </a:p>
        </p:txBody>
      </p:sp>
    </p:spTree>
    <p:extLst>
      <p:ext uri="{BB962C8B-B14F-4D97-AF65-F5344CB8AC3E}">
        <p14:creationId xmlns:p14="http://schemas.microsoft.com/office/powerpoint/2010/main" val="7732613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1" y="1144867"/>
            <a:ext cx="9515883" cy="3702555"/>
          </a:xfrm>
        </p:spPr>
        <p:txBody>
          <a:bodyPr lIns="91440" tIns="45720" rIns="91440" bIns="45720" anchor="t"/>
          <a:lstStyle/>
          <a:p>
            <a:pPr marL="0" indent="0">
              <a:buNone/>
            </a:pPr>
            <a:r>
              <a:rPr lang="en-US" b="1"/>
              <a:t>What is the Domain dependency order within the Ed-Fi ODS?</a:t>
            </a:r>
            <a:endParaRPr lang="en-US"/>
          </a:p>
          <a:p>
            <a:pPr marL="457200" lvl="1" indent="0">
              <a:buNone/>
            </a:pPr>
            <a:endParaRPr lang="en-US">
              <a:ea typeface="+mn-lt"/>
              <a:cs typeface="+mn-lt"/>
            </a:endParaRPr>
          </a:p>
          <a:p>
            <a:pPr marL="457200" lvl="1" indent="0">
              <a:buNone/>
            </a:pPr>
            <a:r>
              <a:rPr lang="en-US">
                <a:cs typeface="Calibri"/>
              </a:rPr>
              <a:t>Ed-Fi resources must be loaded into the ODS according to a set dependency order. This dependency order is enforced through the entity relationships in the ODS database or by authorization. </a:t>
            </a:r>
          </a:p>
          <a:p>
            <a:pPr marL="457200" lvl="1" indent="0">
              <a:buNone/>
            </a:pPr>
            <a:endParaRPr lang="en-US">
              <a:cs typeface="Calibri"/>
            </a:endParaRPr>
          </a:p>
          <a:p>
            <a:pPr marL="457200" lvl="1" indent="0">
              <a:buNone/>
            </a:pPr>
            <a:r>
              <a:rPr lang="en-US">
                <a:cs typeface="Calibri"/>
              </a:rPr>
              <a:t>A high-level dependency graph can be found </a:t>
            </a:r>
            <a:r>
              <a:rPr lang="en-US">
                <a:cs typeface="Calibri"/>
                <a:hlinkClick r:id="rId3"/>
              </a:rPr>
              <a:t>here</a:t>
            </a:r>
            <a:r>
              <a:rPr lang="en-US">
                <a:cs typeface="Calibri"/>
              </a:rPr>
              <a:t> to help minimize authorization and validation errors in API responses. </a:t>
            </a:r>
          </a:p>
        </p:txBody>
      </p:sp>
      <p:sp>
        <p:nvSpPr>
          <p:cNvPr id="5" name="Title 4">
            <a:extLst>
              <a:ext uri="{FF2B5EF4-FFF2-40B4-BE49-F238E27FC236}">
                <a16:creationId xmlns:a16="http://schemas.microsoft.com/office/drawing/2014/main" id="{ED050E86-55C2-4B7D-BA4D-A740ACD38EBC}"/>
              </a:ext>
            </a:extLst>
          </p:cNvPr>
          <p:cNvSpPr>
            <a:spLocks noGrp="1"/>
          </p:cNvSpPr>
          <p:nvPr>
            <p:ph type="title"/>
          </p:nvPr>
        </p:nvSpPr>
        <p:spPr/>
        <p:txBody>
          <a:bodyPr>
            <a:noAutofit/>
          </a:bodyPr>
          <a:lstStyle/>
          <a:p>
            <a:r>
              <a:rPr lang="en-US">
                <a:cs typeface="Calibri"/>
              </a:rPr>
              <a:t>FREQUENTLY ASKED QUESTIONS</a:t>
            </a:r>
            <a:endParaRPr lang="en-US"/>
          </a:p>
        </p:txBody>
      </p:sp>
    </p:spTree>
    <p:extLst>
      <p:ext uri="{BB962C8B-B14F-4D97-AF65-F5344CB8AC3E}">
        <p14:creationId xmlns:p14="http://schemas.microsoft.com/office/powerpoint/2010/main" val="39549281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2" y="1144867"/>
            <a:ext cx="9057398" cy="3702555"/>
          </a:xfrm>
        </p:spPr>
        <p:txBody>
          <a:bodyPr lIns="91440" tIns="45720" rIns="91440" bIns="45720" anchor="t"/>
          <a:lstStyle/>
          <a:p>
            <a:pPr marL="0" indent="0">
              <a:buNone/>
            </a:pPr>
            <a:r>
              <a:rPr lang="en-US" b="1"/>
              <a:t>Is there any expectation of updating the Ed-Fi data standard prior to the 2023-2024 Go-Live year?</a:t>
            </a:r>
            <a:endParaRPr lang="en-US"/>
          </a:p>
          <a:p>
            <a:pPr marL="457200" lvl="1" indent="0">
              <a:buNone/>
            </a:pPr>
            <a:endParaRPr lang="en-US">
              <a:ea typeface="+mn-lt"/>
              <a:cs typeface="+mn-lt"/>
            </a:endParaRPr>
          </a:p>
          <a:p>
            <a:pPr marL="457200" lvl="1" indent="0">
              <a:buNone/>
            </a:pPr>
            <a:r>
              <a:rPr lang="en-US">
                <a:cs typeface="Calibri"/>
              </a:rPr>
              <a:t>While Ed-Fi may release a new version, TEA will be remaining on the </a:t>
            </a:r>
            <a:r>
              <a:rPr lang="en-US">
                <a:cs typeface="Calibri"/>
                <a:hlinkClick r:id="rId3"/>
              </a:rPr>
              <a:t>Ed-Fi data standard v3.2.0-c</a:t>
            </a:r>
            <a:r>
              <a:rPr lang="en-US">
                <a:cs typeface="Calibri"/>
              </a:rPr>
              <a:t> for the 2021-2022 pilot program, 2022-2023 parallel submission, and 2023-2024 go-live year. </a:t>
            </a:r>
            <a:endParaRPr lang="en-US">
              <a:ea typeface="Calibri"/>
              <a:cs typeface="Calibri"/>
            </a:endParaRPr>
          </a:p>
        </p:txBody>
      </p:sp>
      <p:sp>
        <p:nvSpPr>
          <p:cNvPr id="5" name="Title 4">
            <a:extLst>
              <a:ext uri="{FF2B5EF4-FFF2-40B4-BE49-F238E27FC236}">
                <a16:creationId xmlns:a16="http://schemas.microsoft.com/office/drawing/2014/main" id="{ED050E86-55C2-4B7D-BA4D-A740ACD38EBC}"/>
              </a:ext>
            </a:extLst>
          </p:cNvPr>
          <p:cNvSpPr>
            <a:spLocks noGrp="1"/>
          </p:cNvSpPr>
          <p:nvPr>
            <p:ph type="title"/>
          </p:nvPr>
        </p:nvSpPr>
        <p:spPr/>
        <p:txBody>
          <a:bodyPr>
            <a:noAutofit/>
          </a:bodyPr>
          <a:lstStyle/>
          <a:p>
            <a:r>
              <a:rPr lang="en-US">
                <a:cs typeface="Calibri"/>
              </a:rPr>
              <a:t>FREQUENTLY ASKED QUESTIONS</a:t>
            </a:r>
            <a:endParaRPr lang="en-US"/>
          </a:p>
        </p:txBody>
      </p:sp>
    </p:spTree>
    <p:extLst>
      <p:ext uri="{BB962C8B-B14F-4D97-AF65-F5344CB8AC3E}">
        <p14:creationId xmlns:p14="http://schemas.microsoft.com/office/powerpoint/2010/main" val="40571975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085335-4629-49D1-8D80-D048CE340446}"/>
              </a:ext>
            </a:extLst>
          </p:cNvPr>
          <p:cNvSpPr>
            <a:spLocks noGrp="1"/>
          </p:cNvSpPr>
          <p:nvPr>
            <p:ph type="title"/>
          </p:nvPr>
        </p:nvSpPr>
        <p:spPr/>
        <p:txBody>
          <a:bodyPr>
            <a:noAutofit/>
          </a:bodyPr>
          <a:lstStyle/>
          <a:p>
            <a:r>
              <a:rPr lang="en-US"/>
              <a:t>NEXT VENDOR WEBINAR</a:t>
            </a:r>
            <a:endParaRPr lang="en-US">
              <a:cs typeface="Calibri"/>
            </a:endParaRPr>
          </a:p>
        </p:txBody>
      </p:sp>
      <p:sp>
        <p:nvSpPr>
          <p:cNvPr id="12" name="Content Placeholder 11">
            <a:extLst>
              <a:ext uri="{FF2B5EF4-FFF2-40B4-BE49-F238E27FC236}">
                <a16:creationId xmlns:a16="http://schemas.microsoft.com/office/drawing/2014/main" id="{D9521B25-39E6-45C6-A22A-2389C63E95B4}"/>
              </a:ext>
            </a:extLst>
          </p:cNvPr>
          <p:cNvSpPr>
            <a:spLocks noGrp="1"/>
          </p:cNvSpPr>
          <p:nvPr>
            <p:ph idx="1"/>
          </p:nvPr>
        </p:nvSpPr>
        <p:spPr>
          <a:xfrm>
            <a:off x="2209704" y="1183506"/>
            <a:ext cx="9512027" cy="4351338"/>
          </a:xfrm>
        </p:spPr>
        <p:txBody>
          <a:bodyPr lIns="91440" tIns="45720" rIns="91440" bIns="45720" anchor="t"/>
          <a:lstStyle/>
          <a:p>
            <a:r>
              <a:rPr lang="en-US">
                <a:solidFill>
                  <a:srgbClr val="0D6CB9"/>
                </a:solidFill>
                <a:latin typeface="Calibri"/>
              </a:rPr>
              <a:t>The next TSDS ODS 3.x Vendor Webinar is tentatively scheduled for </a:t>
            </a:r>
            <a:r>
              <a:rPr lang="en-US" b="1">
                <a:solidFill>
                  <a:srgbClr val="0D6CB9"/>
                </a:solidFill>
                <a:latin typeface="Calibri"/>
              </a:rPr>
              <a:t>April 6, 2022. </a:t>
            </a:r>
          </a:p>
        </p:txBody>
      </p:sp>
      <p:pic>
        <p:nvPicPr>
          <p:cNvPr id="14" name="Picture 13" descr="A page in a planner">
            <a:extLst>
              <a:ext uri="{FF2B5EF4-FFF2-40B4-BE49-F238E27FC236}">
                <a16:creationId xmlns:a16="http://schemas.microsoft.com/office/drawing/2014/main" id="{8820024C-3B60-4AEA-9751-41600B6E84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30521" y="2420683"/>
            <a:ext cx="10363200" cy="4187372"/>
          </a:xfrm>
          <a:prstGeom prst="rect">
            <a:avLst/>
          </a:prstGeom>
          <a:effectLst>
            <a:softEdge rad="127000"/>
          </a:effectLst>
        </p:spPr>
      </p:pic>
    </p:spTree>
    <p:extLst>
      <p:ext uri="{BB962C8B-B14F-4D97-AF65-F5344CB8AC3E}">
        <p14:creationId xmlns:p14="http://schemas.microsoft.com/office/powerpoint/2010/main" val="19389458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AE0E511-8808-46F4-8573-BB38D117974C}"/>
              </a:ext>
            </a:extLst>
          </p:cNvPr>
          <p:cNvSpPr>
            <a:spLocks noGrp="1"/>
          </p:cNvSpPr>
          <p:nvPr>
            <p:ph type="ctrTitle"/>
          </p:nvPr>
        </p:nvSpPr>
        <p:spPr>
          <a:xfrm>
            <a:off x="341698" y="591506"/>
            <a:ext cx="2870789" cy="2351382"/>
          </a:xfrm>
        </p:spPr>
        <p:txBody>
          <a:bodyPr vert="horz" lIns="91440" tIns="45720" rIns="91440" bIns="45720" rtlCol="0" anchor="ctr">
            <a:noAutofit/>
          </a:bodyPr>
          <a:lstStyle/>
          <a:p>
            <a:r>
              <a:rPr lang="en-US">
                <a:cs typeface="Calibri"/>
              </a:rPr>
              <a:t>Questions</a:t>
            </a:r>
          </a:p>
        </p:txBody>
      </p:sp>
    </p:spTree>
    <p:extLst>
      <p:ext uri="{BB962C8B-B14F-4D97-AF65-F5344CB8AC3E}">
        <p14:creationId xmlns:p14="http://schemas.microsoft.com/office/powerpoint/2010/main" val="27303564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EA22AC3-DFF1-4B63-BBE1-A7D09BB52FCF}"/>
              </a:ext>
            </a:extLst>
          </p:cNvPr>
          <p:cNvSpPr/>
          <p:nvPr/>
        </p:nvSpPr>
        <p:spPr>
          <a:xfrm>
            <a:off x="2547142" y="1886768"/>
            <a:ext cx="4231038" cy="3886119"/>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7AC9B5C5-7B04-4D00-9FA6-A3CAE6BF41B3}"/>
              </a:ext>
            </a:extLst>
          </p:cNvPr>
          <p:cNvSpPr>
            <a:spLocks noGrp="1"/>
          </p:cNvSpPr>
          <p:nvPr>
            <p:ph type="title"/>
          </p:nvPr>
        </p:nvSpPr>
        <p:spPr/>
        <p:txBody>
          <a:bodyPr>
            <a:normAutofit fontScale="90000"/>
          </a:bodyPr>
          <a:lstStyle/>
          <a:p>
            <a:pPr algn="ctr"/>
            <a:r>
              <a:rPr lang="en-US">
                <a:solidFill>
                  <a:schemeClr val="bg1"/>
                </a:solidFill>
              </a:rPr>
              <a:t>OFFICE OF INFORMATION TECHNOLOGY</a:t>
            </a:r>
          </a:p>
        </p:txBody>
      </p:sp>
      <p:sp>
        <p:nvSpPr>
          <p:cNvPr id="22" name="TextBox 21">
            <a:extLst>
              <a:ext uri="{FF2B5EF4-FFF2-40B4-BE49-F238E27FC236}">
                <a16:creationId xmlns:a16="http://schemas.microsoft.com/office/drawing/2014/main" id="{CCDCD304-4B4E-4CE7-A75B-7E8BD93F9A6E}"/>
              </a:ext>
            </a:extLst>
          </p:cNvPr>
          <p:cNvSpPr txBox="1"/>
          <p:nvPr/>
        </p:nvSpPr>
        <p:spPr>
          <a:xfrm>
            <a:off x="3431161" y="895108"/>
            <a:ext cx="6694039" cy="646331"/>
          </a:xfrm>
          <a:prstGeom prst="rect">
            <a:avLst/>
          </a:prstGeom>
          <a:noFill/>
        </p:spPr>
        <p:txBody>
          <a:bodyPr wrap="square" rtlCol="0">
            <a:spAutoFit/>
          </a:bodyPr>
          <a:lstStyle/>
          <a:p>
            <a:pPr algn="ctr"/>
            <a:r>
              <a:rPr lang="en-US"/>
              <a:t>Customer Relationship Management &amp; Data Standards Department</a:t>
            </a:r>
          </a:p>
          <a:p>
            <a:pPr algn="ctr"/>
            <a:r>
              <a:rPr lang="en-US"/>
              <a:t>Information Technology </a:t>
            </a:r>
          </a:p>
        </p:txBody>
      </p:sp>
      <p:pic>
        <p:nvPicPr>
          <p:cNvPr id="3" name="Picture 2" descr="Texas Student Data System (TSDS)">
            <a:extLst>
              <a:ext uri="{FF2B5EF4-FFF2-40B4-BE49-F238E27FC236}">
                <a16:creationId xmlns:a16="http://schemas.microsoft.com/office/drawing/2014/main" id="{CA490107-7BB1-4342-9499-42D53DBADBAB}"/>
              </a:ext>
            </a:extLst>
          </p:cNvPr>
          <p:cNvPicPr>
            <a:picLocks noChangeAspect="1"/>
          </p:cNvPicPr>
          <p:nvPr/>
        </p:nvPicPr>
        <p:blipFill rotWithShape="1">
          <a:blip r:embed="rId3">
            <a:extLst>
              <a:ext uri="{28A0092B-C50C-407E-A947-70E740481C1C}">
                <a14:useLocalDpi xmlns:a14="http://schemas.microsoft.com/office/drawing/2010/main" val="0"/>
              </a:ext>
            </a:extLst>
          </a:blip>
          <a:srcRect r="48998" b="-1393"/>
          <a:stretch/>
        </p:blipFill>
        <p:spPr>
          <a:xfrm>
            <a:off x="2645898" y="2340982"/>
            <a:ext cx="4033526" cy="2478925"/>
          </a:xfrm>
          <a:prstGeom prst="rect">
            <a:avLst/>
          </a:prstGeom>
        </p:spPr>
      </p:pic>
      <p:sp>
        <p:nvSpPr>
          <p:cNvPr id="2" name="Rectangle 1">
            <a:extLst>
              <a:ext uri="{FF2B5EF4-FFF2-40B4-BE49-F238E27FC236}">
                <a16:creationId xmlns:a16="http://schemas.microsoft.com/office/drawing/2014/main" id="{96CEC16E-33A8-4848-B0C4-D218C5B39A81}"/>
              </a:ext>
            </a:extLst>
          </p:cNvPr>
          <p:cNvSpPr/>
          <p:nvPr/>
        </p:nvSpPr>
        <p:spPr>
          <a:xfrm>
            <a:off x="7113033" y="1886768"/>
            <a:ext cx="4231038" cy="38861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802A3F05-90D2-4A83-82C7-CDABD0A61D82}"/>
              </a:ext>
            </a:extLst>
          </p:cNvPr>
          <p:cNvSpPr txBox="1"/>
          <p:nvPr/>
        </p:nvSpPr>
        <p:spPr>
          <a:xfrm>
            <a:off x="7304764" y="2490999"/>
            <a:ext cx="3847575" cy="2677656"/>
          </a:xfrm>
          <a:prstGeom prst="rect">
            <a:avLst/>
          </a:prstGeom>
          <a:noFill/>
        </p:spPr>
        <p:txBody>
          <a:bodyPr wrap="square" rtlCol="0">
            <a:spAutoFit/>
          </a:bodyPr>
          <a:lstStyle/>
          <a:p>
            <a:r>
              <a:rPr lang="en-US" sz="2800">
                <a:solidFill>
                  <a:schemeClr val="bg1"/>
                </a:solidFill>
              </a:rPr>
              <a:t>A multi-year initiative to   upgrade the Operational Data Store (ODS) and Texas Education Data Standards (TEDS) to a current version of Ed-FI.</a:t>
            </a:r>
          </a:p>
        </p:txBody>
      </p:sp>
    </p:spTree>
    <p:extLst>
      <p:ext uri="{BB962C8B-B14F-4D97-AF65-F5344CB8AC3E}">
        <p14:creationId xmlns:p14="http://schemas.microsoft.com/office/powerpoint/2010/main" val="5135019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D7006B0-D09E-41C1-AC68-76F2C4270956}"/>
              </a:ext>
            </a:extLst>
          </p:cNvPr>
          <p:cNvSpPr>
            <a:spLocks noGrp="1"/>
          </p:cNvSpPr>
          <p:nvPr>
            <p:ph idx="1"/>
          </p:nvPr>
        </p:nvSpPr>
        <p:spPr>
          <a:xfrm>
            <a:off x="2117000" y="1245045"/>
            <a:ext cx="8988726" cy="5293241"/>
          </a:xfrm>
        </p:spPr>
        <p:txBody>
          <a:bodyPr/>
          <a:lstStyle/>
          <a:p>
            <a:r>
              <a:rPr lang="en-US" b="1"/>
              <a:t>July 2021 – August 2022</a:t>
            </a:r>
          </a:p>
          <a:p>
            <a:pPr lvl="1">
              <a:buFont typeface="Wingdings" panose="05000000000000000000" pitchFamily="2" charset="2"/>
              <a:buChar char="§"/>
            </a:pPr>
            <a:r>
              <a:rPr lang="en-US"/>
              <a:t>Pilot program for TSDS vendors</a:t>
            </a:r>
          </a:p>
          <a:p>
            <a:pPr lvl="1">
              <a:buFont typeface="Wingdings" panose="05000000000000000000" pitchFamily="2" charset="2"/>
              <a:buChar char="§"/>
            </a:pPr>
            <a:r>
              <a:rPr lang="en-US"/>
              <a:t>Consists of a series of mini-pilots</a:t>
            </a:r>
          </a:p>
          <a:p>
            <a:pPr lvl="1"/>
            <a:endParaRPr lang="en-US"/>
          </a:p>
          <a:p>
            <a:r>
              <a:rPr lang="en-US" b="1"/>
              <a:t>August 2022 – August 2023</a:t>
            </a:r>
          </a:p>
          <a:p>
            <a:pPr lvl="1">
              <a:buFont typeface="Wingdings" panose="05000000000000000000" pitchFamily="2" charset="2"/>
              <a:buChar char="§"/>
            </a:pPr>
            <a:r>
              <a:rPr lang="en-US"/>
              <a:t>Parallel submission for participating LEAs</a:t>
            </a:r>
          </a:p>
          <a:p>
            <a:pPr lvl="1">
              <a:buFont typeface="Wingdings" panose="05000000000000000000" pitchFamily="2" charset="2"/>
              <a:buChar char="§"/>
            </a:pPr>
            <a:r>
              <a:rPr lang="en-US"/>
              <a:t>LEAs validate API transactions against XML</a:t>
            </a:r>
          </a:p>
          <a:p>
            <a:pPr lvl="1"/>
            <a:endParaRPr lang="en-US"/>
          </a:p>
          <a:p>
            <a:r>
              <a:rPr lang="en-US" b="1"/>
              <a:t>August 2023 – August 2024</a:t>
            </a:r>
          </a:p>
          <a:p>
            <a:pPr lvl="1">
              <a:buFont typeface="Wingdings" panose="05000000000000000000" pitchFamily="2" charset="2"/>
              <a:buChar char="§"/>
            </a:pPr>
            <a:r>
              <a:rPr lang="en-US"/>
              <a:t>TSDS 3.x ODS go-live for 2023-2024 school year</a:t>
            </a:r>
          </a:p>
          <a:p>
            <a:pPr lvl="1">
              <a:buFont typeface="Wingdings" panose="05000000000000000000" pitchFamily="2" charset="2"/>
              <a:buChar char="§"/>
            </a:pPr>
            <a:r>
              <a:rPr lang="en-US"/>
              <a:t>XML submissions no longer accepted for TSDS</a:t>
            </a:r>
          </a:p>
          <a:p>
            <a:pPr lvl="1"/>
            <a:endParaRPr lang="en-US"/>
          </a:p>
        </p:txBody>
      </p:sp>
      <p:graphicFrame>
        <p:nvGraphicFramePr>
          <p:cNvPr id="4" name="Diagram 3">
            <a:extLst>
              <a:ext uri="{FF2B5EF4-FFF2-40B4-BE49-F238E27FC236}">
                <a16:creationId xmlns:a16="http://schemas.microsoft.com/office/drawing/2014/main" id="{EEDCAF76-BB02-410A-BDFF-5EB2F86885EE}"/>
              </a:ext>
            </a:extLst>
          </p:cNvPr>
          <p:cNvGraphicFramePr/>
          <p:nvPr/>
        </p:nvGraphicFramePr>
        <p:xfrm>
          <a:off x="7801598" y="918625"/>
          <a:ext cx="5178132" cy="50951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6">
            <a:extLst>
              <a:ext uri="{FF2B5EF4-FFF2-40B4-BE49-F238E27FC236}">
                <a16:creationId xmlns:a16="http://schemas.microsoft.com/office/drawing/2014/main" id="{F9A5D8B7-BDA4-4C7A-B6DA-5AD8022DF0D7}"/>
              </a:ext>
            </a:extLst>
          </p:cNvPr>
          <p:cNvSpPr>
            <a:spLocks noGrp="1"/>
          </p:cNvSpPr>
          <p:nvPr>
            <p:ph type="title"/>
          </p:nvPr>
        </p:nvSpPr>
        <p:spPr/>
        <p:txBody>
          <a:bodyPr>
            <a:noAutofit/>
          </a:bodyPr>
          <a:lstStyle/>
          <a:p>
            <a:r>
              <a:rPr lang="en-US">
                <a:cs typeface="Calibri"/>
              </a:rPr>
              <a:t>PHASED IMPLEMENTATION</a:t>
            </a:r>
            <a:endParaRPr lang="en-US"/>
          </a:p>
        </p:txBody>
      </p:sp>
    </p:spTree>
    <p:extLst>
      <p:ext uri="{BB962C8B-B14F-4D97-AF65-F5344CB8AC3E}">
        <p14:creationId xmlns:p14="http://schemas.microsoft.com/office/powerpoint/2010/main" val="16647889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D7006B0-D09E-41C1-AC68-76F2C4270956}"/>
              </a:ext>
            </a:extLst>
          </p:cNvPr>
          <p:cNvSpPr>
            <a:spLocks noGrp="1"/>
          </p:cNvSpPr>
          <p:nvPr>
            <p:ph idx="1"/>
          </p:nvPr>
        </p:nvSpPr>
        <p:spPr>
          <a:xfrm>
            <a:off x="2136839" y="1042804"/>
            <a:ext cx="9489103" cy="5772100"/>
          </a:xfrm>
        </p:spPr>
        <p:txBody>
          <a:bodyPr/>
          <a:lstStyle/>
          <a:p>
            <a:r>
              <a:rPr lang="en-US" sz="2600" b="1"/>
              <a:t>PURPOSE</a:t>
            </a:r>
            <a:r>
              <a:rPr lang="en-US" sz="2600"/>
              <a:t>: Optional opportunity for vendors to develop and test their product solution through the </a:t>
            </a:r>
            <a:r>
              <a:rPr lang="en-US" sz="2600" b="1"/>
              <a:t>integration, data out, and end-to-end testing </a:t>
            </a:r>
            <a:r>
              <a:rPr lang="en-US" sz="2600"/>
              <a:t>phases</a:t>
            </a:r>
            <a:r>
              <a:rPr lang="en-US" sz="2600" b="1"/>
              <a:t> </a:t>
            </a:r>
            <a:r>
              <a:rPr lang="en-US" sz="2600"/>
              <a:t>in preparation for the 2022-2023 parallel submission year.</a:t>
            </a:r>
          </a:p>
          <a:p>
            <a:endParaRPr lang="en-US" sz="1000" b="1"/>
          </a:p>
          <a:p>
            <a:r>
              <a:rPr lang="en-US" sz="2600" b="1"/>
              <a:t>FOCUS</a:t>
            </a:r>
            <a:r>
              <a:rPr lang="en-US" sz="2600"/>
              <a:t>: For the 2021-2022 Pilot Program, vendors will develop and test against the following TSDS data submission requirements:</a:t>
            </a:r>
            <a:endParaRPr lang="en-US" sz="2600" b="1"/>
          </a:p>
        </p:txBody>
      </p:sp>
      <p:graphicFrame>
        <p:nvGraphicFramePr>
          <p:cNvPr id="9" name="Diagram 8">
            <a:extLst>
              <a:ext uri="{FF2B5EF4-FFF2-40B4-BE49-F238E27FC236}">
                <a16:creationId xmlns:a16="http://schemas.microsoft.com/office/drawing/2014/main" id="{8CEDB963-BFD3-4578-A4D5-BB104CAC1C5C}"/>
              </a:ext>
            </a:extLst>
          </p:cNvPr>
          <p:cNvGraphicFramePr/>
          <p:nvPr/>
        </p:nvGraphicFramePr>
        <p:xfrm>
          <a:off x="2924178" y="3727539"/>
          <a:ext cx="7724128" cy="27825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a:extLst>
              <a:ext uri="{FF2B5EF4-FFF2-40B4-BE49-F238E27FC236}">
                <a16:creationId xmlns:a16="http://schemas.microsoft.com/office/drawing/2014/main" id="{ABD342D0-55C1-4F53-9432-BD7EDBDCC220}"/>
              </a:ext>
            </a:extLst>
          </p:cNvPr>
          <p:cNvSpPr>
            <a:spLocks noGrp="1"/>
          </p:cNvSpPr>
          <p:nvPr>
            <p:ph type="title"/>
          </p:nvPr>
        </p:nvSpPr>
        <p:spPr/>
        <p:txBody>
          <a:bodyPr>
            <a:noAutofit/>
          </a:bodyPr>
          <a:lstStyle/>
          <a:p>
            <a:r>
              <a:rPr lang="en-US">
                <a:cs typeface="Calibri"/>
              </a:rPr>
              <a:t>PILOT PROGRAM: PURPOSE &amp; FOCUS</a:t>
            </a:r>
            <a:endParaRPr lang="en-US"/>
          </a:p>
        </p:txBody>
      </p:sp>
    </p:spTree>
    <p:extLst>
      <p:ext uri="{BB962C8B-B14F-4D97-AF65-F5344CB8AC3E}">
        <p14:creationId xmlns:p14="http://schemas.microsoft.com/office/powerpoint/2010/main" val="17305863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52B3A2-F8D1-4244-BE7E-A343ABB830D7}"/>
              </a:ext>
            </a:extLst>
          </p:cNvPr>
          <p:cNvSpPr>
            <a:spLocks noGrp="1"/>
          </p:cNvSpPr>
          <p:nvPr>
            <p:ph type="title"/>
          </p:nvPr>
        </p:nvSpPr>
        <p:spPr/>
        <p:txBody>
          <a:bodyPr/>
          <a:lstStyle/>
          <a:p>
            <a:r>
              <a:rPr lang="en-US"/>
              <a:t>PILOT PROGRAM: TIMELINE</a:t>
            </a:r>
          </a:p>
        </p:txBody>
      </p:sp>
      <p:sp>
        <p:nvSpPr>
          <p:cNvPr id="4" name="TextBox 3">
            <a:extLst>
              <a:ext uri="{FF2B5EF4-FFF2-40B4-BE49-F238E27FC236}">
                <a16:creationId xmlns:a16="http://schemas.microsoft.com/office/drawing/2014/main" id="{611AAD79-6CC1-44AF-941D-C0924A75E736}"/>
              </a:ext>
            </a:extLst>
          </p:cNvPr>
          <p:cNvSpPr txBox="1"/>
          <p:nvPr/>
        </p:nvSpPr>
        <p:spPr>
          <a:xfrm>
            <a:off x="2774666" y="3244334"/>
            <a:ext cx="2006896" cy="369332"/>
          </a:xfrm>
          <a:prstGeom prst="rect">
            <a:avLst/>
          </a:prstGeom>
          <a:noFill/>
        </p:spPr>
        <p:txBody>
          <a:bodyPr wrap="none" rtlCol="0">
            <a:spAutoFit/>
          </a:bodyPr>
          <a:lstStyle/>
          <a:p>
            <a:r>
              <a:rPr lang="en-US" b="1">
                <a:solidFill>
                  <a:schemeClr val="bg1">
                    <a:lumMod val="95000"/>
                  </a:schemeClr>
                </a:solidFill>
              </a:rPr>
              <a:t>TEDS PUBLICATION</a:t>
            </a:r>
          </a:p>
        </p:txBody>
      </p:sp>
      <p:sp>
        <p:nvSpPr>
          <p:cNvPr id="8" name="TextBox 7">
            <a:extLst>
              <a:ext uri="{FF2B5EF4-FFF2-40B4-BE49-F238E27FC236}">
                <a16:creationId xmlns:a16="http://schemas.microsoft.com/office/drawing/2014/main" id="{E6C66526-4AAA-42B9-A119-C8827E2E8C37}"/>
              </a:ext>
            </a:extLst>
          </p:cNvPr>
          <p:cNvSpPr txBox="1"/>
          <p:nvPr/>
        </p:nvSpPr>
        <p:spPr>
          <a:xfrm>
            <a:off x="9984520" y="3244334"/>
            <a:ext cx="1409553" cy="369332"/>
          </a:xfrm>
          <a:prstGeom prst="rect">
            <a:avLst/>
          </a:prstGeom>
          <a:noFill/>
        </p:spPr>
        <p:txBody>
          <a:bodyPr wrap="none" rtlCol="0">
            <a:spAutoFit/>
          </a:bodyPr>
          <a:lstStyle/>
          <a:p>
            <a:r>
              <a:rPr lang="en-US" b="1">
                <a:solidFill>
                  <a:schemeClr val="bg1">
                    <a:lumMod val="95000"/>
                  </a:schemeClr>
                </a:solidFill>
              </a:rPr>
              <a:t>END-TO-END</a:t>
            </a:r>
          </a:p>
        </p:txBody>
      </p:sp>
      <p:sp>
        <p:nvSpPr>
          <p:cNvPr id="3" name="TextBox 2">
            <a:extLst>
              <a:ext uri="{FF2B5EF4-FFF2-40B4-BE49-F238E27FC236}">
                <a16:creationId xmlns:a16="http://schemas.microsoft.com/office/drawing/2014/main" id="{F6C7CBB7-912E-42E1-92EF-6D83B3297E4F}"/>
              </a:ext>
            </a:extLst>
          </p:cNvPr>
          <p:cNvSpPr txBox="1"/>
          <p:nvPr/>
        </p:nvSpPr>
        <p:spPr>
          <a:xfrm>
            <a:off x="820101" y="1264257"/>
            <a:ext cx="2038635" cy="1384995"/>
          </a:xfrm>
          <a:prstGeom prst="rect">
            <a:avLst/>
          </a:prstGeom>
          <a:noFill/>
        </p:spPr>
        <p:txBody>
          <a:bodyPr wrap="none" rtlCol="0">
            <a:spAutoFit/>
          </a:bodyPr>
          <a:lstStyle/>
          <a:p>
            <a:r>
              <a:rPr lang="en-US" sz="2000" b="1"/>
              <a:t>JULY 2021 – </a:t>
            </a:r>
          </a:p>
          <a:p>
            <a:r>
              <a:rPr lang="en-US" sz="2000" b="1"/>
              <a:t>OCTOBER 2021</a:t>
            </a:r>
          </a:p>
          <a:p>
            <a:r>
              <a:rPr lang="en-US" sz="1200" b="1">
                <a:solidFill>
                  <a:srgbClr val="0D6CB9"/>
                </a:solidFill>
              </a:rPr>
              <a:t>Pilot Vendor 1: PowerSchool </a:t>
            </a:r>
          </a:p>
          <a:p>
            <a:r>
              <a:rPr lang="en-US" sz="1200"/>
              <a:t>SDK &amp; Hosted Sandboxes</a:t>
            </a:r>
          </a:p>
          <a:p>
            <a:endParaRPr lang="en-US" sz="2000" b="1"/>
          </a:p>
        </p:txBody>
      </p:sp>
      <p:sp>
        <p:nvSpPr>
          <p:cNvPr id="9" name="TextBox 8">
            <a:extLst>
              <a:ext uri="{FF2B5EF4-FFF2-40B4-BE49-F238E27FC236}">
                <a16:creationId xmlns:a16="http://schemas.microsoft.com/office/drawing/2014/main" id="{26C2FBAE-0EAD-4518-B38C-66D0AB0A739D}"/>
              </a:ext>
            </a:extLst>
          </p:cNvPr>
          <p:cNvSpPr txBox="1"/>
          <p:nvPr/>
        </p:nvSpPr>
        <p:spPr>
          <a:xfrm>
            <a:off x="2803519" y="4585143"/>
            <a:ext cx="2521212" cy="1384995"/>
          </a:xfrm>
          <a:prstGeom prst="rect">
            <a:avLst/>
          </a:prstGeom>
          <a:noFill/>
        </p:spPr>
        <p:txBody>
          <a:bodyPr wrap="square" rtlCol="0">
            <a:spAutoFit/>
          </a:bodyPr>
          <a:lstStyle/>
          <a:p>
            <a:r>
              <a:rPr lang="en-US" sz="2000" b="1"/>
              <a:t>OCTOBER 2021 - </a:t>
            </a:r>
          </a:p>
          <a:p>
            <a:r>
              <a:rPr lang="en-US" sz="2000" b="1"/>
              <a:t>NOVEMBER 2021</a:t>
            </a:r>
          </a:p>
          <a:p>
            <a:r>
              <a:rPr lang="en-US" sz="1200"/>
              <a:t>Pilot ODS 3.x Data Standards</a:t>
            </a:r>
          </a:p>
          <a:p>
            <a:r>
              <a:rPr lang="en-US" sz="1200" b="1">
                <a:solidFill>
                  <a:srgbClr val="0D6CB9"/>
                </a:solidFill>
              </a:rPr>
              <a:t>Pilot Vendor 2: Ascender </a:t>
            </a:r>
            <a:endParaRPr lang="en-US" sz="1200">
              <a:solidFill>
                <a:srgbClr val="0D6CB9"/>
              </a:solidFill>
            </a:endParaRPr>
          </a:p>
          <a:p>
            <a:endParaRPr lang="en-US" sz="2000" b="1"/>
          </a:p>
        </p:txBody>
      </p:sp>
      <p:sp>
        <p:nvSpPr>
          <p:cNvPr id="10" name="TextBox 9">
            <a:extLst>
              <a:ext uri="{FF2B5EF4-FFF2-40B4-BE49-F238E27FC236}">
                <a16:creationId xmlns:a16="http://schemas.microsoft.com/office/drawing/2014/main" id="{6300136A-47E2-4FCD-9515-A595AFB70F9A}"/>
              </a:ext>
            </a:extLst>
          </p:cNvPr>
          <p:cNvSpPr txBox="1"/>
          <p:nvPr/>
        </p:nvSpPr>
        <p:spPr>
          <a:xfrm>
            <a:off x="4876659" y="1264257"/>
            <a:ext cx="2515047" cy="1077218"/>
          </a:xfrm>
          <a:prstGeom prst="rect">
            <a:avLst/>
          </a:prstGeom>
          <a:noFill/>
        </p:spPr>
        <p:txBody>
          <a:bodyPr wrap="none" rtlCol="0">
            <a:spAutoFit/>
          </a:bodyPr>
          <a:lstStyle/>
          <a:p>
            <a:r>
              <a:rPr lang="en-US" sz="2000" b="1"/>
              <a:t>NOVEMBER 2021 – </a:t>
            </a:r>
          </a:p>
          <a:p>
            <a:r>
              <a:rPr lang="en-US" sz="2000" b="1"/>
              <a:t>MARCH 2022</a:t>
            </a:r>
          </a:p>
          <a:p>
            <a:r>
              <a:rPr lang="en-US" sz="1200" b="1">
                <a:solidFill>
                  <a:srgbClr val="0D6CB9"/>
                </a:solidFill>
              </a:rPr>
              <a:t>Pilot Vendor Cohort: 6 vendors </a:t>
            </a:r>
          </a:p>
          <a:p>
            <a:r>
              <a:rPr lang="en-US" sz="1200"/>
              <a:t>Level 1 Validations &amp; UID Validation </a:t>
            </a:r>
            <a:endParaRPr lang="en-US" sz="2000" b="1">
              <a:solidFill>
                <a:schemeClr val="accent2"/>
              </a:solidFill>
            </a:endParaRPr>
          </a:p>
        </p:txBody>
      </p:sp>
      <p:sp>
        <p:nvSpPr>
          <p:cNvPr id="11" name="TextBox 10">
            <a:extLst>
              <a:ext uri="{FF2B5EF4-FFF2-40B4-BE49-F238E27FC236}">
                <a16:creationId xmlns:a16="http://schemas.microsoft.com/office/drawing/2014/main" id="{E0895200-C6C8-49FB-A7A0-B71BF76FC561}"/>
              </a:ext>
            </a:extLst>
          </p:cNvPr>
          <p:cNvSpPr txBox="1"/>
          <p:nvPr/>
        </p:nvSpPr>
        <p:spPr>
          <a:xfrm>
            <a:off x="7417300" y="4477421"/>
            <a:ext cx="2345450" cy="1200329"/>
          </a:xfrm>
          <a:prstGeom prst="rect">
            <a:avLst/>
          </a:prstGeom>
          <a:noFill/>
        </p:spPr>
        <p:txBody>
          <a:bodyPr wrap="square" rtlCol="0">
            <a:spAutoFit/>
          </a:bodyPr>
          <a:lstStyle/>
          <a:p>
            <a:r>
              <a:rPr lang="en-US" sz="2000" b="1"/>
              <a:t>MARCH 2022 – APRIL 2022</a:t>
            </a:r>
          </a:p>
          <a:p>
            <a:r>
              <a:rPr lang="en-US" sz="1200"/>
              <a:t>Updated ODS 3.x Data Standards</a:t>
            </a:r>
          </a:p>
          <a:p>
            <a:endParaRPr lang="en-US" sz="2000" b="1">
              <a:solidFill>
                <a:schemeClr val="accent2"/>
              </a:solidFill>
            </a:endParaRPr>
          </a:p>
        </p:txBody>
      </p:sp>
      <p:sp>
        <p:nvSpPr>
          <p:cNvPr id="12" name="TextBox 11">
            <a:extLst>
              <a:ext uri="{FF2B5EF4-FFF2-40B4-BE49-F238E27FC236}">
                <a16:creationId xmlns:a16="http://schemas.microsoft.com/office/drawing/2014/main" id="{D4960C86-2779-464C-A863-5D35C319AFFE}"/>
              </a:ext>
            </a:extLst>
          </p:cNvPr>
          <p:cNvSpPr txBox="1"/>
          <p:nvPr/>
        </p:nvSpPr>
        <p:spPr>
          <a:xfrm>
            <a:off x="9593013" y="1264257"/>
            <a:ext cx="1986378" cy="1077218"/>
          </a:xfrm>
          <a:prstGeom prst="rect">
            <a:avLst/>
          </a:prstGeom>
          <a:noFill/>
        </p:spPr>
        <p:txBody>
          <a:bodyPr wrap="none" rtlCol="0">
            <a:spAutoFit/>
          </a:bodyPr>
          <a:lstStyle/>
          <a:p>
            <a:r>
              <a:rPr lang="en-US" sz="2000" b="1"/>
              <a:t>MAY 2022 – </a:t>
            </a:r>
          </a:p>
          <a:p>
            <a:r>
              <a:rPr lang="en-US" sz="2000" b="1"/>
              <a:t>AUGUST 2022</a:t>
            </a:r>
          </a:p>
          <a:p>
            <a:r>
              <a:rPr lang="en-US" sz="1200"/>
              <a:t>Partner LEA Testing (TBD)</a:t>
            </a:r>
          </a:p>
          <a:p>
            <a:r>
              <a:rPr lang="en-US" sz="1200"/>
              <a:t>User Interfaces &amp; Validations</a:t>
            </a:r>
          </a:p>
        </p:txBody>
      </p:sp>
      <p:sp>
        <p:nvSpPr>
          <p:cNvPr id="15" name="TextBox 14">
            <a:extLst>
              <a:ext uri="{FF2B5EF4-FFF2-40B4-BE49-F238E27FC236}">
                <a16:creationId xmlns:a16="http://schemas.microsoft.com/office/drawing/2014/main" id="{685ADD1F-3F30-455B-B370-E0D8C44E4445}"/>
              </a:ext>
            </a:extLst>
          </p:cNvPr>
          <p:cNvSpPr txBox="1"/>
          <p:nvPr/>
        </p:nvSpPr>
        <p:spPr>
          <a:xfrm>
            <a:off x="712380" y="3244334"/>
            <a:ext cx="1501758" cy="369332"/>
          </a:xfrm>
          <a:prstGeom prst="rect">
            <a:avLst/>
          </a:prstGeom>
          <a:noFill/>
        </p:spPr>
        <p:txBody>
          <a:bodyPr wrap="none" rtlCol="0">
            <a:spAutoFit/>
          </a:bodyPr>
          <a:lstStyle/>
          <a:p>
            <a:r>
              <a:rPr lang="en-US" b="1">
                <a:solidFill>
                  <a:schemeClr val="bg1">
                    <a:lumMod val="95000"/>
                  </a:schemeClr>
                </a:solidFill>
              </a:rPr>
              <a:t>INTEGRATION</a:t>
            </a:r>
          </a:p>
        </p:txBody>
      </p:sp>
      <p:sp>
        <p:nvSpPr>
          <p:cNvPr id="2" name="TextBox 1">
            <a:extLst>
              <a:ext uri="{FF2B5EF4-FFF2-40B4-BE49-F238E27FC236}">
                <a16:creationId xmlns:a16="http://schemas.microsoft.com/office/drawing/2014/main" id="{FB8FD336-1759-4E5E-8CF1-123ABFEFA81E}"/>
              </a:ext>
            </a:extLst>
          </p:cNvPr>
          <p:cNvSpPr txBox="1"/>
          <p:nvPr/>
        </p:nvSpPr>
        <p:spPr>
          <a:xfrm>
            <a:off x="288896" y="4581208"/>
            <a:ext cx="1764687" cy="584775"/>
          </a:xfrm>
          <a:prstGeom prst="rect">
            <a:avLst/>
          </a:prstGeom>
          <a:noFill/>
        </p:spPr>
        <p:txBody>
          <a:bodyPr wrap="square" rtlCol="0">
            <a:spAutoFit/>
          </a:bodyPr>
          <a:lstStyle/>
          <a:p>
            <a:r>
              <a:rPr lang="en-US" sz="2000" b="1"/>
              <a:t>MAY 2021</a:t>
            </a:r>
          </a:p>
          <a:p>
            <a:r>
              <a:rPr lang="en-US" sz="1200"/>
              <a:t>Statewide Vendor Kickoff</a:t>
            </a:r>
          </a:p>
        </p:txBody>
      </p:sp>
      <p:pic>
        <p:nvPicPr>
          <p:cNvPr id="22" name="Picture 21">
            <a:extLst>
              <a:ext uri="{FF2B5EF4-FFF2-40B4-BE49-F238E27FC236}">
                <a16:creationId xmlns:a16="http://schemas.microsoft.com/office/drawing/2014/main" id="{873F6D54-C437-4F6B-BBF5-82ADD52AC6AA}"/>
              </a:ext>
            </a:extLst>
          </p:cNvPr>
          <p:cNvPicPr>
            <a:picLocks noChangeAspect="1"/>
          </p:cNvPicPr>
          <p:nvPr/>
        </p:nvPicPr>
        <p:blipFill>
          <a:blip r:embed="rId3"/>
          <a:stretch>
            <a:fillRect/>
          </a:stretch>
        </p:blipFill>
        <p:spPr>
          <a:xfrm>
            <a:off x="333920" y="3664006"/>
            <a:ext cx="133350" cy="895350"/>
          </a:xfrm>
          <a:prstGeom prst="rect">
            <a:avLst/>
          </a:prstGeom>
        </p:spPr>
      </p:pic>
      <p:sp>
        <p:nvSpPr>
          <p:cNvPr id="16" name="Rectangle 15">
            <a:extLst>
              <a:ext uri="{FF2B5EF4-FFF2-40B4-BE49-F238E27FC236}">
                <a16:creationId xmlns:a16="http://schemas.microsoft.com/office/drawing/2014/main" id="{D4735993-AC8C-4FA4-A5A2-6117BAA3891C}"/>
              </a:ext>
            </a:extLst>
          </p:cNvPr>
          <p:cNvSpPr/>
          <p:nvPr/>
        </p:nvSpPr>
        <p:spPr>
          <a:xfrm>
            <a:off x="4979624" y="3244334"/>
            <a:ext cx="2159306" cy="419672"/>
          </a:xfrm>
          <a:prstGeom prst="rect">
            <a:avLst/>
          </a:prstGeom>
          <a:solidFill>
            <a:srgbClr val="F48668"/>
          </a:solidFill>
          <a:ln w="76200">
            <a:solidFill>
              <a:srgbClr val="0D6C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CA08618C-A33D-4B6A-8E6C-6DEB8404F790}"/>
              </a:ext>
            </a:extLst>
          </p:cNvPr>
          <p:cNvSpPr txBox="1"/>
          <p:nvPr/>
        </p:nvSpPr>
        <p:spPr>
          <a:xfrm>
            <a:off x="5276991" y="3273762"/>
            <a:ext cx="1542538" cy="369332"/>
          </a:xfrm>
          <a:prstGeom prst="rect">
            <a:avLst/>
          </a:prstGeom>
          <a:noFill/>
        </p:spPr>
        <p:txBody>
          <a:bodyPr wrap="none" rtlCol="0">
            <a:spAutoFit/>
          </a:bodyPr>
          <a:lstStyle/>
          <a:p>
            <a:pPr algn="ctr"/>
            <a:r>
              <a:rPr lang="en-US" b="1"/>
              <a:t>DATA OUTPUT</a:t>
            </a:r>
          </a:p>
        </p:txBody>
      </p:sp>
      <p:sp>
        <p:nvSpPr>
          <p:cNvPr id="18" name="Rectangle 17">
            <a:extLst>
              <a:ext uri="{FF2B5EF4-FFF2-40B4-BE49-F238E27FC236}">
                <a16:creationId xmlns:a16="http://schemas.microsoft.com/office/drawing/2014/main" id="{8ADBE056-34AF-40A7-BF18-70F2C634A1D7}"/>
              </a:ext>
            </a:extLst>
          </p:cNvPr>
          <p:cNvSpPr/>
          <p:nvPr/>
        </p:nvSpPr>
        <p:spPr>
          <a:xfrm>
            <a:off x="7277093" y="3237193"/>
            <a:ext cx="2159306" cy="419672"/>
          </a:xfrm>
          <a:prstGeom prst="rect">
            <a:avLst/>
          </a:prstGeom>
          <a:solidFill>
            <a:srgbClr val="F48668"/>
          </a:solidFill>
          <a:ln w="76200">
            <a:solidFill>
              <a:srgbClr val="0D6C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604B0276-89DF-4046-B7C4-D72E212C874A}"/>
              </a:ext>
            </a:extLst>
          </p:cNvPr>
          <p:cNvSpPr txBox="1"/>
          <p:nvPr/>
        </p:nvSpPr>
        <p:spPr>
          <a:xfrm>
            <a:off x="7353301" y="3266621"/>
            <a:ext cx="2006896" cy="369332"/>
          </a:xfrm>
          <a:prstGeom prst="rect">
            <a:avLst/>
          </a:prstGeom>
          <a:noFill/>
        </p:spPr>
        <p:txBody>
          <a:bodyPr wrap="none" rtlCol="0">
            <a:spAutoFit/>
          </a:bodyPr>
          <a:lstStyle/>
          <a:p>
            <a:pPr algn="ctr"/>
            <a:r>
              <a:rPr lang="en-US" b="1"/>
              <a:t>TEDS PUBLICATION</a:t>
            </a:r>
          </a:p>
        </p:txBody>
      </p:sp>
    </p:spTree>
    <p:extLst>
      <p:ext uri="{BB962C8B-B14F-4D97-AF65-F5344CB8AC3E}">
        <p14:creationId xmlns:p14="http://schemas.microsoft.com/office/powerpoint/2010/main" val="18340563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884E160-42F1-47EC-B0E1-6207012B1379}"/>
              </a:ext>
            </a:extLst>
          </p:cNvPr>
          <p:cNvSpPr/>
          <p:nvPr/>
        </p:nvSpPr>
        <p:spPr>
          <a:xfrm>
            <a:off x="7044906" y="1385597"/>
            <a:ext cx="4649638" cy="453749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8262166-61C6-4E1C-B082-E707A22D4A69}"/>
              </a:ext>
            </a:extLst>
          </p:cNvPr>
          <p:cNvSpPr/>
          <p:nvPr/>
        </p:nvSpPr>
        <p:spPr>
          <a:xfrm>
            <a:off x="2242868" y="1388853"/>
            <a:ext cx="4649638" cy="4537494"/>
          </a:xfrm>
          <a:prstGeom prst="rect">
            <a:avLst/>
          </a:prstGeom>
          <a:solidFill>
            <a:srgbClr val="0D6C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AA4A582-9F9C-462F-B143-0062CF84155D}"/>
              </a:ext>
            </a:extLst>
          </p:cNvPr>
          <p:cNvSpPr>
            <a:spLocks noGrp="1"/>
          </p:cNvSpPr>
          <p:nvPr>
            <p:ph type="title"/>
          </p:nvPr>
        </p:nvSpPr>
        <p:spPr/>
        <p:txBody>
          <a:bodyPr/>
          <a:lstStyle/>
          <a:p>
            <a:r>
              <a:rPr lang="en-US"/>
              <a:t>PILOT PROGRAM:</a:t>
            </a:r>
            <a:r>
              <a:rPr lang="en-US">
                <a:cs typeface="Calibri"/>
              </a:rPr>
              <a:t> ACCOMPLISHMENTS</a:t>
            </a:r>
            <a:endParaRPr lang="en-US"/>
          </a:p>
        </p:txBody>
      </p:sp>
      <p:sp>
        <p:nvSpPr>
          <p:cNvPr id="3" name="Content Placeholder 2">
            <a:extLst>
              <a:ext uri="{FF2B5EF4-FFF2-40B4-BE49-F238E27FC236}">
                <a16:creationId xmlns:a16="http://schemas.microsoft.com/office/drawing/2014/main" id="{0D716CBB-6801-4A61-A7F4-0202A6BC32BD}"/>
              </a:ext>
            </a:extLst>
          </p:cNvPr>
          <p:cNvSpPr>
            <a:spLocks noGrp="1"/>
          </p:cNvSpPr>
          <p:nvPr>
            <p:ph idx="1"/>
          </p:nvPr>
        </p:nvSpPr>
        <p:spPr/>
        <p:txBody>
          <a:bodyPr/>
          <a:lstStyle/>
          <a:p>
            <a:pPr marL="0" indent="0">
              <a:buNone/>
            </a:pPr>
            <a:endParaRPr lang="en-US">
              <a:solidFill>
                <a:schemeClr val="bg1"/>
              </a:solidFill>
              <a:ea typeface="+mn-lt"/>
              <a:cs typeface="+mn-lt"/>
            </a:endParaRPr>
          </a:p>
          <a:p>
            <a:pPr marL="0" indent="0">
              <a:buNone/>
            </a:pPr>
            <a:endParaRPr lang="en-US">
              <a:solidFill>
                <a:schemeClr val="bg1"/>
              </a:solidFill>
              <a:ea typeface="+mn-lt"/>
              <a:cs typeface="+mn-lt"/>
            </a:endParaRPr>
          </a:p>
          <a:p>
            <a:pPr>
              <a:buClr>
                <a:schemeClr val="bg1"/>
              </a:buClr>
            </a:pPr>
            <a:r>
              <a:rPr lang="en-US" sz="2400">
                <a:solidFill>
                  <a:schemeClr val="bg1"/>
                </a:solidFill>
                <a:ea typeface="+mn-lt"/>
                <a:cs typeface="+mn-lt"/>
              </a:rPr>
              <a:t>Platform SIS Integration</a:t>
            </a:r>
          </a:p>
          <a:p>
            <a:pPr>
              <a:buClr>
                <a:schemeClr val="bg1"/>
              </a:buClr>
            </a:pPr>
            <a:r>
              <a:rPr lang="en-US" sz="2400">
                <a:solidFill>
                  <a:schemeClr val="bg1"/>
                </a:solidFill>
                <a:ea typeface="+mn-lt"/>
                <a:cs typeface="+mn-lt"/>
              </a:rPr>
              <a:t>MetaEd Definitions, Extensions, and Descriptor File</a:t>
            </a:r>
          </a:p>
          <a:p>
            <a:pPr>
              <a:buClr>
                <a:schemeClr val="bg1"/>
              </a:buClr>
            </a:pPr>
            <a:r>
              <a:rPr lang="en-US" sz="2400">
                <a:solidFill>
                  <a:schemeClr val="bg1"/>
                </a:solidFill>
                <a:ea typeface="+mn-lt"/>
                <a:cs typeface="+mn-lt"/>
              </a:rPr>
              <a:t>SaaS ODS Sandboxes Framework</a:t>
            </a:r>
          </a:p>
          <a:p>
            <a:pPr>
              <a:buClr>
                <a:schemeClr val="bg1"/>
              </a:buClr>
            </a:pPr>
            <a:r>
              <a:rPr lang="en-US" sz="2400">
                <a:solidFill>
                  <a:schemeClr val="bg1"/>
                </a:solidFill>
                <a:ea typeface="+mn-lt"/>
                <a:cs typeface="+mn-lt"/>
              </a:rPr>
              <a:t>Onboarded Initial Pilot Vendor</a:t>
            </a:r>
          </a:p>
          <a:p>
            <a:pPr marL="0" indent="0">
              <a:buNone/>
            </a:pPr>
            <a:endParaRPr lang="en-US">
              <a:solidFill>
                <a:schemeClr val="bg1"/>
              </a:solidFill>
            </a:endParaRPr>
          </a:p>
        </p:txBody>
      </p:sp>
      <p:sp>
        <p:nvSpPr>
          <p:cNvPr id="4" name="Content Placeholder 3">
            <a:extLst>
              <a:ext uri="{FF2B5EF4-FFF2-40B4-BE49-F238E27FC236}">
                <a16:creationId xmlns:a16="http://schemas.microsoft.com/office/drawing/2014/main" id="{7BE46F6B-B4CD-4A4B-B70D-BB9A6E6502AF}"/>
              </a:ext>
            </a:extLst>
          </p:cNvPr>
          <p:cNvSpPr>
            <a:spLocks noGrp="1"/>
          </p:cNvSpPr>
          <p:nvPr>
            <p:ph idx="13"/>
          </p:nvPr>
        </p:nvSpPr>
        <p:spPr>
          <a:xfrm>
            <a:off x="7077078" y="1478675"/>
            <a:ext cx="4617466" cy="4351338"/>
          </a:xfrm>
        </p:spPr>
        <p:txBody>
          <a:bodyPr/>
          <a:lstStyle/>
          <a:p>
            <a:pPr>
              <a:buFont typeface="Arial,Sans-Serif"/>
              <a:buChar char="•"/>
            </a:pPr>
            <a:endParaRPr lang="en-US">
              <a:solidFill>
                <a:schemeClr val="bg1"/>
              </a:solidFill>
              <a:cs typeface="Calibri"/>
            </a:endParaRPr>
          </a:p>
          <a:p>
            <a:pPr>
              <a:buFont typeface="Arial,Sans-Serif"/>
              <a:buChar char="•"/>
            </a:pPr>
            <a:endParaRPr lang="en-US">
              <a:solidFill>
                <a:schemeClr val="bg1"/>
              </a:solidFill>
              <a:cs typeface="Calibri"/>
            </a:endParaRPr>
          </a:p>
          <a:p>
            <a:pPr>
              <a:buClr>
                <a:schemeClr val="bg1"/>
              </a:buClr>
            </a:pPr>
            <a:r>
              <a:rPr lang="en-US" sz="2400">
                <a:solidFill>
                  <a:schemeClr val="bg1"/>
                </a:solidFill>
                <a:ea typeface="+mn-lt"/>
                <a:cs typeface="+mn-lt"/>
              </a:rPr>
              <a:t>MetaEd Definitions, Extensions, and Descriptor File</a:t>
            </a:r>
          </a:p>
          <a:p>
            <a:pPr>
              <a:buClr>
                <a:schemeClr val="bg1"/>
              </a:buClr>
            </a:pPr>
            <a:r>
              <a:rPr lang="en-US" sz="2400">
                <a:solidFill>
                  <a:schemeClr val="bg1"/>
                </a:solidFill>
                <a:ea typeface="+mn-lt"/>
                <a:cs typeface="+mn-lt"/>
              </a:rPr>
              <a:t>Data Filtering</a:t>
            </a:r>
          </a:p>
          <a:p>
            <a:pPr>
              <a:buClr>
                <a:schemeClr val="bg1"/>
              </a:buClr>
            </a:pPr>
            <a:r>
              <a:rPr lang="en-US" sz="2400">
                <a:solidFill>
                  <a:schemeClr val="bg1"/>
                </a:solidFill>
                <a:ea typeface="+mn-lt"/>
                <a:cs typeface="+mn-lt"/>
              </a:rPr>
              <a:t>Data Out API</a:t>
            </a:r>
          </a:p>
          <a:p>
            <a:pPr>
              <a:buClr>
                <a:schemeClr val="bg1"/>
              </a:buClr>
            </a:pPr>
            <a:r>
              <a:rPr lang="en-US" sz="2400">
                <a:solidFill>
                  <a:schemeClr val="bg1"/>
                </a:solidFill>
                <a:ea typeface="+mn-lt"/>
                <a:cs typeface="+mn-lt"/>
              </a:rPr>
              <a:t>Vendor Cohort of 6 Pilot Vendors</a:t>
            </a:r>
          </a:p>
        </p:txBody>
      </p:sp>
      <p:sp>
        <p:nvSpPr>
          <p:cNvPr id="7" name="Rectangle 6">
            <a:extLst>
              <a:ext uri="{FF2B5EF4-FFF2-40B4-BE49-F238E27FC236}">
                <a16:creationId xmlns:a16="http://schemas.microsoft.com/office/drawing/2014/main" id="{ED4C65F3-5C99-47DE-9C4E-11577BC765D4}"/>
              </a:ext>
            </a:extLst>
          </p:cNvPr>
          <p:cNvSpPr/>
          <p:nvPr/>
        </p:nvSpPr>
        <p:spPr>
          <a:xfrm>
            <a:off x="2756139" y="1581915"/>
            <a:ext cx="3623095" cy="738591"/>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3600">
                <a:solidFill>
                  <a:srgbClr val="0D6CB9"/>
                </a:solidFill>
              </a:rPr>
              <a:t>INTEGRATION</a:t>
            </a:r>
          </a:p>
        </p:txBody>
      </p:sp>
      <p:sp>
        <p:nvSpPr>
          <p:cNvPr id="9" name="Rectangle 8">
            <a:extLst>
              <a:ext uri="{FF2B5EF4-FFF2-40B4-BE49-F238E27FC236}">
                <a16:creationId xmlns:a16="http://schemas.microsoft.com/office/drawing/2014/main" id="{D482703E-B5DB-4B30-B8DD-EC9CE2C2AEA5}"/>
              </a:ext>
            </a:extLst>
          </p:cNvPr>
          <p:cNvSpPr/>
          <p:nvPr/>
        </p:nvSpPr>
        <p:spPr>
          <a:xfrm>
            <a:off x="7558177" y="1581915"/>
            <a:ext cx="3623095" cy="738591"/>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3600">
                <a:solidFill>
                  <a:srgbClr val="0D6CB9"/>
                </a:solidFill>
              </a:rPr>
              <a:t>DATA OUT</a:t>
            </a:r>
          </a:p>
        </p:txBody>
      </p:sp>
    </p:spTree>
    <p:extLst>
      <p:ext uri="{BB962C8B-B14F-4D97-AF65-F5344CB8AC3E}">
        <p14:creationId xmlns:p14="http://schemas.microsoft.com/office/powerpoint/2010/main" val="41654605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942845-BD5A-42C5-A5C4-13339DD507AB}"/>
              </a:ext>
            </a:extLst>
          </p:cNvPr>
          <p:cNvSpPr>
            <a:spLocks noGrp="1"/>
          </p:cNvSpPr>
          <p:nvPr>
            <p:ph type="title"/>
          </p:nvPr>
        </p:nvSpPr>
        <p:spPr>
          <a:xfrm>
            <a:off x="2201841" y="167275"/>
            <a:ext cx="9630770" cy="751350"/>
          </a:xfrm>
        </p:spPr>
        <p:txBody>
          <a:bodyPr>
            <a:normAutofit/>
          </a:bodyPr>
          <a:lstStyle/>
          <a:p>
            <a:r>
              <a:rPr lang="en-US"/>
              <a:t>SOFTWARE DEVELOPMENT KIT (SDK)</a:t>
            </a:r>
          </a:p>
        </p:txBody>
      </p:sp>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1951470" y="990843"/>
            <a:ext cx="9773494" cy="5646737"/>
          </a:xfrm>
        </p:spPr>
        <p:txBody>
          <a:bodyPr lIns="91440" tIns="45720" rIns="91440" bIns="45720" anchor="t"/>
          <a:lstStyle/>
          <a:p>
            <a:endParaRPr lang="en-US" sz="1200" b="1">
              <a:ea typeface="+mn-lt"/>
              <a:cs typeface="+mn-lt"/>
            </a:endParaRPr>
          </a:p>
          <a:p>
            <a:r>
              <a:rPr lang="en-US" sz="3200" b="1">
                <a:ea typeface="+mn-lt"/>
                <a:cs typeface="+mn-lt"/>
              </a:rPr>
              <a:t>Version 1.0</a:t>
            </a:r>
            <a:r>
              <a:rPr lang="en-US" sz="3200">
                <a:ea typeface="+mn-lt"/>
                <a:cs typeface="+mn-lt"/>
              </a:rPr>
              <a:t>: July 28, 2021</a:t>
            </a:r>
            <a:endParaRPr lang="en-US" sz="3200">
              <a:cs typeface="Calibri"/>
            </a:endParaRPr>
          </a:p>
          <a:p>
            <a:pPr lvl="1">
              <a:buFont typeface="Arial,Sans-Serif"/>
              <a:buChar char="•"/>
            </a:pPr>
            <a:r>
              <a:rPr lang="en-US" sz="2800">
                <a:ea typeface="+mn-lt"/>
                <a:cs typeface="+mn-lt"/>
              </a:rPr>
              <a:t>API and database images for the following domains: </a:t>
            </a:r>
          </a:p>
          <a:p>
            <a:pPr lvl="2">
              <a:buFont typeface="Arial,Sans-Serif"/>
              <a:buChar char="•"/>
            </a:pPr>
            <a:r>
              <a:rPr lang="en-US" sz="2400">
                <a:ea typeface="+mn-lt"/>
                <a:cs typeface="+mn-lt"/>
              </a:rPr>
              <a:t>Student ID and Demographics, Enrollment, School Calendar, Staff, Education Organization, Discipline, Restraint Event, Student Academic Record, Teaching and Learning</a:t>
            </a:r>
          </a:p>
          <a:p>
            <a:pPr lvl="1">
              <a:buClr>
                <a:srgbClr val="F16038"/>
              </a:buClr>
              <a:buFont typeface="Arial,Sans-Serif"/>
              <a:buChar char="•"/>
            </a:pPr>
            <a:endParaRPr lang="en-US" sz="1600">
              <a:ea typeface="+mn-lt"/>
              <a:cs typeface="+mn-lt"/>
            </a:endParaRPr>
          </a:p>
          <a:p>
            <a:r>
              <a:rPr lang="en-US" sz="3200" b="1">
                <a:ea typeface="+mn-lt"/>
                <a:cs typeface="+mn-lt"/>
              </a:rPr>
              <a:t>Version 1.2.1</a:t>
            </a:r>
            <a:r>
              <a:rPr lang="en-US" sz="3200">
                <a:ea typeface="+mn-lt"/>
                <a:cs typeface="+mn-lt"/>
              </a:rPr>
              <a:t>: November 10, 2021</a:t>
            </a:r>
          </a:p>
          <a:p>
            <a:pPr lvl="1">
              <a:buFont typeface="Arial,Sans-Serif"/>
              <a:buChar char="•"/>
            </a:pPr>
            <a:r>
              <a:rPr lang="en-US" sz="2800">
                <a:ea typeface="+mn-lt"/>
                <a:cs typeface="+mn-lt"/>
              </a:rPr>
              <a:t>TEA extensions released on October 1 &amp; 15, 2021</a:t>
            </a:r>
          </a:p>
          <a:p>
            <a:pPr lvl="1">
              <a:buFont typeface="Arial,Sans-Serif"/>
              <a:buChar char="•"/>
            </a:pPr>
            <a:r>
              <a:rPr lang="en-US" sz="2800">
                <a:ea typeface="+mn-lt"/>
                <a:cs typeface="+mn-lt"/>
              </a:rPr>
              <a:t>Repaired Boolean in Docker Compose File</a:t>
            </a:r>
          </a:p>
          <a:p>
            <a:pPr lvl="1">
              <a:buClr>
                <a:srgbClr val="F16038"/>
              </a:buClr>
              <a:buFont typeface="Arial,Sans-Serif"/>
              <a:buChar char="•"/>
            </a:pPr>
            <a:endParaRPr lang="en-US" sz="1600">
              <a:ea typeface="+mn-lt"/>
              <a:cs typeface="+mn-lt"/>
            </a:endParaRPr>
          </a:p>
          <a:p>
            <a:r>
              <a:rPr lang="en-US" sz="3200" b="1">
                <a:ea typeface="+mn-lt"/>
                <a:cs typeface="+mn-lt"/>
              </a:rPr>
              <a:t>Version 1.3.0</a:t>
            </a:r>
            <a:r>
              <a:rPr lang="en-US" sz="3200">
                <a:ea typeface="+mn-lt"/>
                <a:cs typeface="+mn-lt"/>
              </a:rPr>
              <a:t>: December 2, 2021  </a:t>
            </a:r>
          </a:p>
          <a:p>
            <a:pPr lvl="1">
              <a:buClr>
                <a:srgbClr val="F16038"/>
              </a:buClr>
              <a:buFont typeface="Arial,Sans-Serif"/>
              <a:buChar char="•"/>
            </a:pPr>
            <a:r>
              <a:rPr lang="en-US" sz="2800">
                <a:ea typeface="+mn-lt"/>
                <a:cs typeface="+mn-lt"/>
              </a:rPr>
              <a:t>Texas Education Data Standards (TEDS): December 2, 2021</a:t>
            </a:r>
            <a:endParaRPr lang="en-US" sz="2800"/>
          </a:p>
          <a:p>
            <a:pPr lvl="2">
              <a:buClr>
                <a:srgbClr val="F16038"/>
              </a:buClr>
              <a:buFont typeface="Arial,Sans-Serif"/>
              <a:buChar char="•"/>
            </a:pPr>
            <a:endParaRPr lang="en-US">
              <a:ea typeface="+mn-lt"/>
              <a:cs typeface="+mn-lt"/>
            </a:endParaRPr>
          </a:p>
          <a:p>
            <a:pPr marL="285750" indent="-285750">
              <a:buClr>
                <a:srgbClr val="F16038"/>
              </a:buClr>
              <a:buFont typeface="Arial"/>
              <a:buChar char="•"/>
            </a:pPr>
            <a:endParaRPr lang="en-US">
              <a:cs typeface="Calibri"/>
            </a:endParaRPr>
          </a:p>
          <a:p>
            <a:pPr marL="0" indent="0">
              <a:buNone/>
            </a:pPr>
            <a:endParaRPr lang="en-US">
              <a:latin typeface="Segoe UI" panose="020B0502040204020203" pitchFamily="34" charset="0"/>
              <a:cs typeface="Segoe UI" panose="020B0502040204020203" pitchFamily="34" charset="0"/>
            </a:endParaRPr>
          </a:p>
          <a:p>
            <a:pPr marL="0" indent="0">
              <a:buNone/>
            </a:pPr>
            <a:endParaRPr lang="en-US">
              <a:latin typeface="Calibri" panose="020F0502020204030204"/>
              <a:cs typeface="Calibri"/>
            </a:endParaRPr>
          </a:p>
        </p:txBody>
      </p:sp>
    </p:spTree>
    <p:extLst>
      <p:ext uri="{BB962C8B-B14F-4D97-AF65-F5344CB8AC3E}">
        <p14:creationId xmlns:p14="http://schemas.microsoft.com/office/powerpoint/2010/main" val="10132998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942845-BD5A-42C5-A5C4-13339DD507AB}"/>
              </a:ext>
            </a:extLst>
          </p:cNvPr>
          <p:cNvSpPr>
            <a:spLocks noGrp="1"/>
          </p:cNvSpPr>
          <p:nvPr>
            <p:ph type="title"/>
          </p:nvPr>
        </p:nvSpPr>
        <p:spPr>
          <a:xfrm>
            <a:off x="2201841" y="167275"/>
            <a:ext cx="9630770" cy="751350"/>
          </a:xfrm>
        </p:spPr>
        <p:txBody>
          <a:bodyPr>
            <a:normAutofit/>
          </a:bodyPr>
          <a:lstStyle/>
          <a:p>
            <a:r>
              <a:rPr lang="en-US"/>
              <a:t>UPCOMING SDK VERSION</a:t>
            </a:r>
          </a:p>
        </p:txBody>
      </p:sp>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1951470" y="990843"/>
            <a:ext cx="9773494" cy="5646737"/>
          </a:xfrm>
        </p:spPr>
        <p:txBody>
          <a:bodyPr lIns="91440" tIns="45720" rIns="91440" bIns="45720" anchor="t"/>
          <a:lstStyle/>
          <a:p>
            <a:endParaRPr lang="en-US" sz="1200" b="1" dirty="0">
              <a:ea typeface="+mn-lt"/>
              <a:cs typeface="+mn-lt"/>
            </a:endParaRPr>
          </a:p>
          <a:p>
            <a:r>
              <a:rPr lang="en-US" sz="3200" b="1" dirty="0">
                <a:ea typeface="+mn-lt"/>
                <a:cs typeface="+mn-lt"/>
              </a:rPr>
              <a:t>Version 1.4.0</a:t>
            </a:r>
            <a:r>
              <a:rPr lang="en-US" sz="3200" dirty="0">
                <a:ea typeface="+mn-lt"/>
                <a:cs typeface="+mn-lt"/>
              </a:rPr>
              <a:t>: Early April 2022</a:t>
            </a:r>
          </a:p>
          <a:p>
            <a:pPr lvl="1">
              <a:buFont typeface="Arial,Sans-Serif"/>
              <a:buChar char="•"/>
            </a:pPr>
            <a:r>
              <a:rPr lang="en-US" sz="2800" dirty="0">
                <a:ea typeface="+mn-lt"/>
                <a:cs typeface="+mn-lt"/>
              </a:rPr>
              <a:t>Texas Education Data Standards (TEDS): March 2022  </a:t>
            </a:r>
          </a:p>
          <a:p>
            <a:pPr lvl="1">
              <a:buFont typeface="Arial,Sans-Serif"/>
              <a:buChar char="•"/>
            </a:pPr>
            <a:endParaRPr lang="en-US" sz="2800" dirty="0">
              <a:ea typeface="+mn-lt"/>
              <a:cs typeface="+mn-lt"/>
            </a:endParaRPr>
          </a:p>
          <a:p>
            <a:r>
              <a:rPr lang="en-US" sz="3200" dirty="0">
                <a:ea typeface="+mn-lt"/>
                <a:cs typeface="+mn-lt"/>
              </a:rPr>
              <a:t>More information on this release will be provided in the vendor webinar on April 6, 2022. </a:t>
            </a:r>
          </a:p>
          <a:p>
            <a:pPr lvl="2">
              <a:buClr>
                <a:srgbClr val="F16038"/>
              </a:buClr>
              <a:buFont typeface="Arial,Sans-Serif"/>
              <a:buChar char="•"/>
            </a:pPr>
            <a:endParaRPr lang="en-US" dirty="0">
              <a:ea typeface="+mn-lt"/>
              <a:cs typeface="+mn-lt"/>
            </a:endParaRPr>
          </a:p>
          <a:p>
            <a:pPr marL="285750" indent="-285750">
              <a:buClr>
                <a:srgbClr val="F16038"/>
              </a:buClr>
              <a:buFont typeface="Arial"/>
              <a:buChar char="•"/>
            </a:pPr>
            <a:endParaRPr lang="en-US" dirty="0">
              <a:cs typeface="Calibri"/>
            </a:endParaRPr>
          </a:p>
          <a:p>
            <a:pPr marL="0" indent="0">
              <a:buNone/>
            </a:pPr>
            <a:endParaRPr lang="en-US" dirty="0">
              <a:latin typeface="Segoe UI" panose="020B0502040204020203" pitchFamily="34" charset="0"/>
              <a:cs typeface="Segoe UI" panose="020B0502040204020203" pitchFamily="34" charset="0"/>
            </a:endParaRPr>
          </a:p>
          <a:p>
            <a:pPr marL="0" indent="0">
              <a:buNone/>
            </a:pPr>
            <a:endParaRPr lang="en-US" dirty="0">
              <a:latin typeface="Calibri" panose="020F0502020204030204"/>
              <a:cs typeface="Calibri"/>
            </a:endParaRPr>
          </a:p>
        </p:txBody>
      </p:sp>
    </p:spTree>
    <p:extLst>
      <p:ext uri="{BB962C8B-B14F-4D97-AF65-F5344CB8AC3E}">
        <p14:creationId xmlns:p14="http://schemas.microsoft.com/office/powerpoint/2010/main" val="40419655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7BE4C68E97640479F3D791B3E26A918" ma:contentTypeVersion="9" ma:contentTypeDescription="Create a new document." ma:contentTypeScope="" ma:versionID="e6b2f02822055de33514714c5681e253">
  <xsd:schema xmlns:xsd="http://www.w3.org/2001/XMLSchema" xmlns:xs="http://www.w3.org/2001/XMLSchema" xmlns:p="http://schemas.microsoft.com/office/2006/metadata/properties" xmlns:ns2="963efe96-9f3c-464d-8c8b-c76864a22ed0" xmlns:ns3="533e3360-6378-4210-ada2-16ccdb17d2cd" targetNamespace="http://schemas.microsoft.com/office/2006/metadata/properties" ma:root="true" ma:fieldsID="c39b5a19f8d5a3b3f970603ec1ec5742" ns2:_="" ns3:_="">
    <xsd:import namespace="963efe96-9f3c-464d-8c8b-c76864a22ed0"/>
    <xsd:import namespace="533e3360-6378-4210-ada2-16ccdb17d2c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3efe96-9f3c-464d-8c8b-c76864a22e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33e3360-6378-4210-ada2-16ccdb17d2c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533e3360-6378-4210-ada2-16ccdb17d2cd">
      <UserInfo>
        <DisplayName>Johnson, Scott</DisplayName>
        <AccountId>20</AccountId>
        <AccountType/>
      </UserInfo>
      <UserInfo>
        <DisplayName>Shipper, Leanne</DisplayName>
        <AccountId>73</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EB9C4E8-4DD1-4A05-AF93-25CCE4B04A30}">
  <ds:schemaRefs>
    <ds:schemaRef ds:uri="533e3360-6378-4210-ada2-16ccdb17d2cd"/>
    <ds:schemaRef ds:uri="963efe96-9f3c-464d-8c8b-c76864a22ed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19692CD-7339-4E15-8B85-65EB8EAE7D52}">
  <ds:schemaRefs>
    <ds:schemaRef ds:uri="533e3360-6378-4210-ada2-16ccdb17d2cd"/>
    <ds:schemaRef ds:uri="963efe96-9f3c-464d-8c8b-c76864a22ed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438415F-CA52-4AC6-B74C-FE95CEB90D1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A_Presentation_Template_Light_option</Template>
  <TotalTime>14</TotalTime>
  <Words>1917</Words>
  <Application>Microsoft Office PowerPoint</Application>
  <PresentationFormat>Widescreen</PresentationFormat>
  <Paragraphs>325</Paragraphs>
  <Slides>28</Slides>
  <Notes>2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Arial</vt:lpstr>
      <vt:lpstr>Arial,Sans-Serif</vt:lpstr>
      <vt:lpstr>Calibri</vt:lpstr>
      <vt:lpstr>Calibri Light</vt:lpstr>
      <vt:lpstr>Courier New</vt:lpstr>
      <vt:lpstr>Segoe UI</vt:lpstr>
      <vt:lpstr>Wingdings</vt:lpstr>
      <vt:lpstr>2_Office Theme</vt:lpstr>
      <vt:lpstr>think-cell Slide</vt:lpstr>
      <vt:lpstr>ODS 3.x Vendor Presentation</vt:lpstr>
      <vt:lpstr>AGENDA</vt:lpstr>
      <vt:lpstr>OFFICE OF INFORMATION TECHNOLOGY</vt:lpstr>
      <vt:lpstr>PHASED IMPLEMENTATION</vt:lpstr>
      <vt:lpstr>PILOT PROGRAM: PURPOSE &amp; FOCUS</vt:lpstr>
      <vt:lpstr>PILOT PROGRAM: TIMELINE</vt:lpstr>
      <vt:lpstr>PILOT PROGRAM: ACCOMPLISHMENTS</vt:lpstr>
      <vt:lpstr>SOFTWARE DEVELOPMENT KIT (SDK)</vt:lpstr>
      <vt:lpstr>UPCOMING SDK VERSION</vt:lpstr>
      <vt:lpstr>PARTICIPATING PILOT VENDORS</vt:lpstr>
      <vt:lpstr>TECHNICAL RESOURCES &amp; GUIDANCE</vt:lpstr>
      <vt:lpstr>VENDOR COMMUNICATIONS </vt:lpstr>
      <vt:lpstr>MINI-PILOT: END-TO-END TESTING</vt:lpstr>
      <vt:lpstr>PARALLEL SUBMISSION</vt:lpstr>
      <vt:lpstr>PREPARING FOR PARALLEL SUBMISSION</vt:lpstr>
      <vt:lpstr>ROLES &amp;  RESPONSIBILITIES</vt:lpstr>
      <vt:lpstr>TSDS COMPATIBLE DESIGNATION</vt:lpstr>
      <vt:lpstr>UPCOMING ESC CHAMPION TRAININGS</vt:lpstr>
      <vt:lpstr>SUPPORTING PARALLEL SUBMISSION</vt:lpstr>
      <vt:lpstr>KEY TAKEAWAYS</vt:lpstr>
      <vt:lpstr>FREQUENTLY ASKED QUESTIONS</vt:lpstr>
      <vt:lpstr>FREQUENTLY ASKED QUESTIONS</vt:lpstr>
      <vt:lpstr>FREQUENTLY ASKED QUESTIONS</vt:lpstr>
      <vt:lpstr>FREQUENTLY ASKED QUESTIONS</vt:lpstr>
      <vt:lpstr>FREQUENTLY ASKED QUESTIONS</vt:lpstr>
      <vt:lpstr>FREQUENTLY ASKED QUESTIONS</vt:lpstr>
      <vt:lpstr>NEXT VENDOR WEBINAR</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2 Spring Training Slides</dc:title>
  <dc:creator>Ulrich, Melanie</dc:creator>
  <cp:lastModifiedBy>Muffoletto, Jamie</cp:lastModifiedBy>
  <cp:revision>3</cp:revision>
  <dcterms:created xsi:type="dcterms:W3CDTF">2020-11-05T16:39:19Z</dcterms:created>
  <dcterms:modified xsi:type="dcterms:W3CDTF">2022-03-24T19:0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BE4C68E97640479F3D791B3E26A918</vt:lpwstr>
  </property>
</Properties>
</file>